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sldIdLst>
    <p:sldId id="257" r:id="rId2"/>
  </p:sldIdLst>
  <p:sldSz cx="7556500" cy="10693400"/>
  <p:notesSz cx="6858000" cy="9144000"/>
  <p:embeddedFontLst>
    <p:embeddedFont>
      <p:font typeface="Roboto Slab" pitchFamily="2" charset="0"/>
      <p:regular r:id="rId3"/>
      <p:bold r:id="rId4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 autoAdjust="0"/>
    <p:restoredTop sz="94622" autoAdjust="0"/>
  </p:normalViewPr>
  <p:slideViewPr>
    <p:cSldViewPr>
      <p:cViewPr>
        <p:scale>
          <a:sx n="10" d="100"/>
          <a:sy n="10" d="100"/>
        </p:scale>
        <p:origin x="3804" y="193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font" Target="fonts/font1.fntdata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font" Target="fonts/font2.fntdata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29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29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29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29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29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29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29/202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29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29/202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29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29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3/29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image" Target="../media/image1.png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2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0" name="Group 2">
            <a:extLst>
              <a:ext uri="{FF2B5EF4-FFF2-40B4-BE49-F238E27FC236}">
                <a16:creationId xmlns:a16="http://schemas.microsoft.com/office/drawing/2014/main" id="{8597F72E-8B50-96F0-360F-10CC70A2C11D}"/>
              </a:ext>
            </a:extLst>
          </p:cNvPr>
          <p:cNvGrpSpPr/>
          <p:nvPr/>
        </p:nvGrpSpPr>
        <p:grpSpPr>
          <a:xfrm>
            <a:off x="-2717480" y="-649619"/>
            <a:ext cx="13938656" cy="11669261"/>
            <a:chOff x="-2717480" y="-649619"/>
            <a:chExt cx="13938656" cy="11669261"/>
          </a:xfrm>
        </p:grpSpPr>
        <p:grpSp>
          <p:nvGrpSpPr>
            <p:cNvPr id="165" name="Group 164">
              <a:extLst>
                <a:ext uri="{FF2B5EF4-FFF2-40B4-BE49-F238E27FC236}">
                  <a16:creationId xmlns:a16="http://schemas.microsoft.com/office/drawing/2014/main" id="{ADDD9F12-61B8-3DDC-4003-0AAFA47D66A8}"/>
                </a:ext>
              </a:extLst>
            </p:cNvPr>
            <p:cNvGrpSpPr/>
            <p:nvPr/>
          </p:nvGrpSpPr>
          <p:grpSpPr>
            <a:xfrm>
              <a:off x="-2717480" y="-649619"/>
              <a:ext cx="8323395" cy="4277184"/>
              <a:chOff x="-2717480" y="-649619"/>
              <a:chExt cx="8323395" cy="4277184"/>
            </a:xfrm>
          </p:grpSpPr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320D280A-96CC-7EB7-B2D6-A197151251A0}"/>
                  </a:ext>
                </a:extLst>
              </p:cNvPr>
              <p:cNvSpPr/>
              <p:nvPr/>
            </p:nvSpPr>
            <p:spPr>
              <a:xfrm rot="19302863">
                <a:off x="-2717480" y="-649619"/>
                <a:ext cx="8323395" cy="3612073"/>
              </a:xfrm>
              <a:custGeom>
                <a:avLst/>
                <a:gdLst>
                  <a:gd name="connsiteX0" fmla="*/ 0 w 8323395"/>
                  <a:gd name="connsiteY0" fmla="*/ 3612073 h 3612073"/>
                  <a:gd name="connsiteX1" fmla="*/ 1 w 8323395"/>
                  <a:gd name="connsiteY1" fmla="*/ 3612073 h 3612073"/>
                  <a:gd name="connsiteX2" fmla="*/ 0 w 8323395"/>
                  <a:gd name="connsiteY2" fmla="*/ 3612073 h 3612073"/>
                  <a:gd name="connsiteX3" fmla="*/ 3747356 w 8323395"/>
                  <a:gd name="connsiteY3" fmla="*/ 0 h 3612073"/>
                  <a:gd name="connsiteX4" fmla="*/ 8323395 w 8323395"/>
                  <a:gd name="connsiteY4" fmla="*/ 3612073 h 3612073"/>
                  <a:gd name="connsiteX5" fmla="*/ 896185 w 8323395"/>
                  <a:gd name="connsiteY5" fmla="*/ 3612073 h 36120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323395" h="3612073">
                    <a:moveTo>
                      <a:pt x="0" y="3612073"/>
                    </a:moveTo>
                    <a:lnTo>
                      <a:pt x="1" y="3612073"/>
                    </a:lnTo>
                    <a:lnTo>
                      <a:pt x="0" y="3612073"/>
                    </a:lnTo>
                    <a:close/>
                    <a:moveTo>
                      <a:pt x="3747356" y="0"/>
                    </a:moveTo>
                    <a:lnTo>
                      <a:pt x="8323395" y="3612073"/>
                    </a:lnTo>
                    <a:lnTo>
                      <a:pt x="896185" y="3612073"/>
                    </a:lnTo>
                    <a:close/>
                  </a:path>
                </a:pathLst>
              </a:custGeom>
              <a:solidFill>
                <a:srgbClr val="09489F"/>
              </a:solidFill>
            </p:spPr>
            <p:txBody>
              <a:bodyPr wrap="square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25" name="Freeform 25"/>
              <p:cNvSpPr/>
              <p:nvPr/>
            </p:nvSpPr>
            <p:spPr>
              <a:xfrm rot="19028436">
                <a:off x="1214983" y="138579"/>
                <a:ext cx="169935" cy="161613"/>
              </a:xfrm>
              <a:custGeom>
                <a:avLst/>
                <a:gdLst/>
                <a:ahLst/>
                <a:cxnLst/>
                <a:rect l="l" t="t" r="r" b="b"/>
                <a:pathLst>
                  <a:path w="1789430" h="1701800">
                    <a:moveTo>
                      <a:pt x="922020" y="21590"/>
                    </a:moveTo>
                    <a:lnTo>
                      <a:pt x="1172210" y="529590"/>
                    </a:lnTo>
                    <a:cubicBezTo>
                      <a:pt x="1176020" y="538480"/>
                      <a:pt x="1184910" y="544830"/>
                      <a:pt x="1195070" y="546100"/>
                    </a:cubicBezTo>
                    <a:lnTo>
                      <a:pt x="1755140" y="627380"/>
                    </a:lnTo>
                    <a:cubicBezTo>
                      <a:pt x="1779270" y="631190"/>
                      <a:pt x="1789430" y="661670"/>
                      <a:pt x="1771650" y="678180"/>
                    </a:cubicBezTo>
                    <a:lnTo>
                      <a:pt x="1366520" y="1073150"/>
                    </a:lnTo>
                    <a:cubicBezTo>
                      <a:pt x="1358900" y="1079500"/>
                      <a:pt x="1356360" y="1089660"/>
                      <a:pt x="1357630" y="1099820"/>
                    </a:cubicBezTo>
                    <a:lnTo>
                      <a:pt x="1452880" y="1658620"/>
                    </a:lnTo>
                    <a:cubicBezTo>
                      <a:pt x="1456690" y="1682750"/>
                      <a:pt x="1431290" y="1701800"/>
                      <a:pt x="1409700" y="1690370"/>
                    </a:cubicBezTo>
                    <a:lnTo>
                      <a:pt x="908050" y="1426210"/>
                    </a:lnTo>
                    <a:cubicBezTo>
                      <a:pt x="899160" y="1421130"/>
                      <a:pt x="889000" y="1421130"/>
                      <a:pt x="880110" y="1426210"/>
                    </a:cubicBezTo>
                    <a:lnTo>
                      <a:pt x="378460" y="1690370"/>
                    </a:lnTo>
                    <a:cubicBezTo>
                      <a:pt x="356870" y="1701800"/>
                      <a:pt x="331470" y="1682750"/>
                      <a:pt x="335280" y="1658620"/>
                    </a:cubicBezTo>
                    <a:lnTo>
                      <a:pt x="430530" y="1099820"/>
                    </a:lnTo>
                    <a:cubicBezTo>
                      <a:pt x="431800" y="1089660"/>
                      <a:pt x="429260" y="1080770"/>
                      <a:pt x="421640" y="1073150"/>
                    </a:cubicBezTo>
                    <a:lnTo>
                      <a:pt x="17780" y="678180"/>
                    </a:lnTo>
                    <a:cubicBezTo>
                      <a:pt x="0" y="660400"/>
                      <a:pt x="10160" y="631190"/>
                      <a:pt x="34290" y="627380"/>
                    </a:cubicBezTo>
                    <a:lnTo>
                      <a:pt x="594360" y="546100"/>
                    </a:lnTo>
                    <a:cubicBezTo>
                      <a:pt x="604520" y="544830"/>
                      <a:pt x="612140" y="538480"/>
                      <a:pt x="617220" y="529590"/>
                    </a:cubicBezTo>
                    <a:lnTo>
                      <a:pt x="867410" y="21590"/>
                    </a:lnTo>
                    <a:cubicBezTo>
                      <a:pt x="878840" y="0"/>
                      <a:pt x="910590" y="0"/>
                      <a:pt x="922020" y="21590"/>
                    </a:cubicBez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7" name="Freeform 27"/>
              <p:cNvSpPr/>
              <p:nvPr/>
            </p:nvSpPr>
            <p:spPr>
              <a:xfrm rot="19028436">
                <a:off x="3320973" y="138579"/>
                <a:ext cx="169935" cy="161613"/>
              </a:xfrm>
              <a:custGeom>
                <a:avLst/>
                <a:gdLst/>
                <a:ahLst/>
                <a:cxnLst/>
                <a:rect l="l" t="t" r="r" b="b"/>
                <a:pathLst>
                  <a:path w="1789430" h="1701800">
                    <a:moveTo>
                      <a:pt x="922020" y="21590"/>
                    </a:moveTo>
                    <a:lnTo>
                      <a:pt x="1172210" y="529590"/>
                    </a:lnTo>
                    <a:cubicBezTo>
                      <a:pt x="1176020" y="538480"/>
                      <a:pt x="1184910" y="544830"/>
                      <a:pt x="1195070" y="546100"/>
                    </a:cubicBezTo>
                    <a:lnTo>
                      <a:pt x="1755140" y="627380"/>
                    </a:lnTo>
                    <a:cubicBezTo>
                      <a:pt x="1779270" y="631190"/>
                      <a:pt x="1789430" y="661670"/>
                      <a:pt x="1771650" y="678180"/>
                    </a:cubicBezTo>
                    <a:lnTo>
                      <a:pt x="1366520" y="1073150"/>
                    </a:lnTo>
                    <a:cubicBezTo>
                      <a:pt x="1358900" y="1079500"/>
                      <a:pt x="1356360" y="1089660"/>
                      <a:pt x="1357630" y="1099820"/>
                    </a:cubicBezTo>
                    <a:lnTo>
                      <a:pt x="1452880" y="1658620"/>
                    </a:lnTo>
                    <a:cubicBezTo>
                      <a:pt x="1456690" y="1682750"/>
                      <a:pt x="1431290" y="1701800"/>
                      <a:pt x="1409700" y="1690370"/>
                    </a:cubicBezTo>
                    <a:lnTo>
                      <a:pt x="908050" y="1426210"/>
                    </a:lnTo>
                    <a:cubicBezTo>
                      <a:pt x="899160" y="1421130"/>
                      <a:pt x="889000" y="1421130"/>
                      <a:pt x="880110" y="1426210"/>
                    </a:cubicBezTo>
                    <a:lnTo>
                      <a:pt x="378460" y="1690370"/>
                    </a:lnTo>
                    <a:cubicBezTo>
                      <a:pt x="356870" y="1701800"/>
                      <a:pt x="331470" y="1682750"/>
                      <a:pt x="335280" y="1658620"/>
                    </a:cubicBezTo>
                    <a:lnTo>
                      <a:pt x="430530" y="1099820"/>
                    </a:lnTo>
                    <a:cubicBezTo>
                      <a:pt x="431800" y="1089660"/>
                      <a:pt x="429260" y="1080770"/>
                      <a:pt x="421640" y="1073150"/>
                    </a:cubicBezTo>
                    <a:lnTo>
                      <a:pt x="17780" y="678180"/>
                    </a:lnTo>
                    <a:cubicBezTo>
                      <a:pt x="0" y="660400"/>
                      <a:pt x="10160" y="631190"/>
                      <a:pt x="34290" y="627380"/>
                    </a:cubicBezTo>
                    <a:lnTo>
                      <a:pt x="594360" y="546100"/>
                    </a:lnTo>
                    <a:cubicBezTo>
                      <a:pt x="604520" y="544830"/>
                      <a:pt x="612140" y="538480"/>
                      <a:pt x="617220" y="529590"/>
                    </a:cubicBezTo>
                    <a:lnTo>
                      <a:pt x="867410" y="21590"/>
                    </a:lnTo>
                    <a:cubicBezTo>
                      <a:pt x="878840" y="0"/>
                      <a:pt x="910590" y="0"/>
                      <a:pt x="922020" y="21590"/>
                    </a:cubicBez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9" name="Freeform 29"/>
              <p:cNvSpPr/>
              <p:nvPr/>
            </p:nvSpPr>
            <p:spPr>
              <a:xfrm rot="19028436">
                <a:off x="2267978" y="138579"/>
                <a:ext cx="169935" cy="161613"/>
              </a:xfrm>
              <a:custGeom>
                <a:avLst/>
                <a:gdLst/>
                <a:ahLst/>
                <a:cxnLst/>
                <a:rect l="l" t="t" r="r" b="b"/>
                <a:pathLst>
                  <a:path w="1789430" h="1701800">
                    <a:moveTo>
                      <a:pt x="922020" y="21590"/>
                    </a:moveTo>
                    <a:lnTo>
                      <a:pt x="1172210" y="529590"/>
                    </a:lnTo>
                    <a:cubicBezTo>
                      <a:pt x="1176020" y="538480"/>
                      <a:pt x="1184910" y="544830"/>
                      <a:pt x="1195070" y="546100"/>
                    </a:cubicBezTo>
                    <a:lnTo>
                      <a:pt x="1755140" y="627380"/>
                    </a:lnTo>
                    <a:cubicBezTo>
                      <a:pt x="1779270" y="631190"/>
                      <a:pt x="1789430" y="661670"/>
                      <a:pt x="1771650" y="678180"/>
                    </a:cubicBezTo>
                    <a:lnTo>
                      <a:pt x="1366520" y="1073150"/>
                    </a:lnTo>
                    <a:cubicBezTo>
                      <a:pt x="1358900" y="1079500"/>
                      <a:pt x="1356360" y="1089660"/>
                      <a:pt x="1357630" y="1099820"/>
                    </a:cubicBezTo>
                    <a:lnTo>
                      <a:pt x="1452880" y="1658620"/>
                    </a:lnTo>
                    <a:cubicBezTo>
                      <a:pt x="1456690" y="1682750"/>
                      <a:pt x="1431290" y="1701800"/>
                      <a:pt x="1409700" y="1690370"/>
                    </a:cubicBezTo>
                    <a:lnTo>
                      <a:pt x="908050" y="1426210"/>
                    </a:lnTo>
                    <a:cubicBezTo>
                      <a:pt x="899160" y="1421130"/>
                      <a:pt x="889000" y="1421130"/>
                      <a:pt x="880110" y="1426210"/>
                    </a:cubicBezTo>
                    <a:lnTo>
                      <a:pt x="378460" y="1690370"/>
                    </a:lnTo>
                    <a:cubicBezTo>
                      <a:pt x="356870" y="1701800"/>
                      <a:pt x="331470" y="1682750"/>
                      <a:pt x="335280" y="1658620"/>
                    </a:cubicBezTo>
                    <a:lnTo>
                      <a:pt x="430530" y="1099820"/>
                    </a:lnTo>
                    <a:cubicBezTo>
                      <a:pt x="431800" y="1089660"/>
                      <a:pt x="429260" y="1080770"/>
                      <a:pt x="421640" y="1073150"/>
                    </a:cubicBezTo>
                    <a:lnTo>
                      <a:pt x="17780" y="678180"/>
                    </a:lnTo>
                    <a:cubicBezTo>
                      <a:pt x="0" y="660400"/>
                      <a:pt x="10160" y="631190"/>
                      <a:pt x="34290" y="627380"/>
                    </a:cubicBezTo>
                    <a:lnTo>
                      <a:pt x="594360" y="546100"/>
                    </a:lnTo>
                    <a:cubicBezTo>
                      <a:pt x="604520" y="544830"/>
                      <a:pt x="612140" y="538480"/>
                      <a:pt x="617220" y="529590"/>
                    </a:cubicBezTo>
                    <a:lnTo>
                      <a:pt x="867410" y="21590"/>
                    </a:lnTo>
                    <a:cubicBezTo>
                      <a:pt x="878840" y="0"/>
                      <a:pt x="910590" y="0"/>
                      <a:pt x="922020" y="21590"/>
                    </a:cubicBez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1" name="Freeform 31"/>
              <p:cNvSpPr/>
              <p:nvPr/>
            </p:nvSpPr>
            <p:spPr>
              <a:xfrm rot="19028436">
                <a:off x="4373968" y="138579"/>
                <a:ext cx="169935" cy="161613"/>
              </a:xfrm>
              <a:custGeom>
                <a:avLst/>
                <a:gdLst/>
                <a:ahLst/>
                <a:cxnLst/>
                <a:rect l="l" t="t" r="r" b="b"/>
                <a:pathLst>
                  <a:path w="1789430" h="1701800">
                    <a:moveTo>
                      <a:pt x="922020" y="21590"/>
                    </a:moveTo>
                    <a:lnTo>
                      <a:pt x="1172210" y="529590"/>
                    </a:lnTo>
                    <a:cubicBezTo>
                      <a:pt x="1176020" y="538480"/>
                      <a:pt x="1184910" y="544830"/>
                      <a:pt x="1195070" y="546100"/>
                    </a:cubicBezTo>
                    <a:lnTo>
                      <a:pt x="1755140" y="627380"/>
                    </a:lnTo>
                    <a:cubicBezTo>
                      <a:pt x="1779270" y="631190"/>
                      <a:pt x="1789430" y="661670"/>
                      <a:pt x="1771650" y="678180"/>
                    </a:cubicBezTo>
                    <a:lnTo>
                      <a:pt x="1366520" y="1073150"/>
                    </a:lnTo>
                    <a:cubicBezTo>
                      <a:pt x="1358900" y="1079500"/>
                      <a:pt x="1356360" y="1089660"/>
                      <a:pt x="1357630" y="1099820"/>
                    </a:cubicBezTo>
                    <a:lnTo>
                      <a:pt x="1452880" y="1658620"/>
                    </a:lnTo>
                    <a:cubicBezTo>
                      <a:pt x="1456690" y="1682750"/>
                      <a:pt x="1431290" y="1701800"/>
                      <a:pt x="1409700" y="1690370"/>
                    </a:cubicBezTo>
                    <a:lnTo>
                      <a:pt x="908050" y="1426210"/>
                    </a:lnTo>
                    <a:cubicBezTo>
                      <a:pt x="899160" y="1421130"/>
                      <a:pt x="889000" y="1421130"/>
                      <a:pt x="880110" y="1426210"/>
                    </a:cubicBezTo>
                    <a:lnTo>
                      <a:pt x="378460" y="1690370"/>
                    </a:lnTo>
                    <a:cubicBezTo>
                      <a:pt x="356870" y="1701800"/>
                      <a:pt x="331470" y="1682750"/>
                      <a:pt x="335280" y="1658620"/>
                    </a:cubicBezTo>
                    <a:lnTo>
                      <a:pt x="430530" y="1099820"/>
                    </a:lnTo>
                    <a:cubicBezTo>
                      <a:pt x="431800" y="1089660"/>
                      <a:pt x="429260" y="1080770"/>
                      <a:pt x="421640" y="1073150"/>
                    </a:cubicBezTo>
                    <a:lnTo>
                      <a:pt x="17780" y="678180"/>
                    </a:lnTo>
                    <a:cubicBezTo>
                      <a:pt x="0" y="660400"/>
                      <a:pt x="10160" y="631190"/>
                      <a:pt x="34290" y="627380"/>
                    </a:cubicBezTo>
                    <a:lnTo>
                      <a:pt x="594360" y="546100"/>
                    </a:lnTo>
                    <a:cubicBezTo>
                      <a:pt x="604520" y="544830"/>
                      <a:pt x="612140" y="538480"/>
                      <a:pt x="617220" y="529590"/>
                    </a:cubicBezTo>
                    <a:lnTo>
                      <a:pt x="867410" y="21590"/>
                    </a:lnTo>
                    <a:cubicBezTo>
                      <a:pt x="878840" y="0"/>
                      <a:pt x="910590" y="0"/>
                      <a:pt x="922020" y="21590"/>
                    </a:cubicBez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3" name="Freeform 33"/>
              <p:cNvSpPr/>
              <p:nvPr/>
            </p:nvSpPr>
            <p:spPr>
              <a:xfrm rot="19028436">
                <a:off x="130238" y="138579"/>
                <a:ext cx="169935" cy="161613"/>
              </a:xfrm>
              <a:custGeom>
                <a:avLst/>
                <a:gdLst/>
                <a:ahLst/>
                <a:cxnLst/>
                <a:rect l="l" t="t" r="r" b="b"/>
                <a:pathLst>
                  <a:path w="1789430" h="1701800">
                    <a:moveTo>
                      <a:pt x="922020" y="21590"/>
                    </a:moveTo>
                    <a:lnTo>
                      <a:pt x="1172210" y="529590"/>
                    </a:lnTo>
                    <a:cubicBezTo>
                      <a:pt x="1176020" y="538480"/>
                      <a:pt x="1184910" y="544830"/>
                      <a:pt x="1195070" y="546100"/>
                    </a:cubicBezTo>
                    <a:lnTo>
                      <a:pt x="1755140" y="627380"/>
                    </a:lnTo>
                    <a:cubicBezTo>
                      <a:pt x="1779270" y="631190"/>
                      <a:pt x="1789430" y="661670"/>
                      <a:pt x="1771650" y="678180"/>
                    </a:cubicBezTo>
                    <a:lnTo>
                      <a:pt x="1366520" y="1073150"/>
                    </a:lnTo>
                    <a:cubicBezTo>
                      <a:pt x="1358900" y="1079500"/>
                      <a:pt x="1356360" y="1089660"/>
                      <a:pt x="1357630" y="1099820"/>
                    </a:cubicBezTo>
                    <a:lnTo>
                      <a:pt x="1452880" y="1658620"/>
                    </a:lnTo>
                    <a:cubicBezTo>
                      <a:pt x="1456690" y="1682750"/>
                      <a:pt x="1431290" y="1701800"/>
                      <a:pt x="1409700" y="1690370"/>
                    </a:cubicBezTo>
                    <a:lnTo>
                      <a:pt x="908050" y="1426210"/>
                    </a:lnTo>
                    <a:cubicBezTo>
                      <a:pt x="899160" y="1421130"/>
                      <a:pt x="889000" y="1421130"/>
                      <a:pt x="880110" y="1426210"/>
                    </a:cubicBezTo>
                    <a:lnTo>
                      <a:pt x="378460" y="1690370"/>
                    </a:lnTo>
                    <a:cubicBezTo>
                      <a:pt x="356870" y="1701800"/>
                      <a:pt x="331470" y="1682750"/>
                      <a:pt x="335280" y="1658620"/>
                    </a:cubicBezTo>
                    <a:lnTo>
                      <a:pt x="430530" y="1099820"/>
                    </a:lnTo>
                    <a:cubicBezTo>
                      <a:pt x="431800" y="1089660"/>
                      <a:pt x="429260" y="1080770"/>
                      <a:pt x="421640" y="1073150"/>
                    </a:cubicBezTo>
                    <a:lnTo>
                      <a:pt x="17780" y="678180"/>
                    </a:lnTo>
                    <a:cubicBezTo>
                      <a:pt x="0" y="660400"/>
                      <a:pt x="10160" y="631190"/>
                      <a:pt x="34290" y="627380"/>
                    </a:cubicBezTo>
                    <a:lnTo>
                      <a:pt x="594360" y="546100"/>
                    </a:lnTo>
                    <a:cubicBezTo>
                      <a:pt x="604520" y="544830"/>
                      <a:pt x="612140" y="538480"/>
                      <a:pt x="617220" y="529590"/>
                    </a:cubicBezTo>
                    <a:lnTo>
                      <a:pt x="867410" y="21590"/>
                    </a:lnTo>
                    <a:cubicBezTo>
                      <a:pt x="878840" y="0"/>
                      <a:pt x="910590" y="0"/>
                      <a:pt x="922020" y="21590"/>
                    </a:cubicBez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5" name="Freeform 35"/>
              <p:cNvSpPr/>
              <p:nvPr/>
            </p:nvSpPr>
            <p:spPr>
              <a:xfrm rot="19028436">
                <a:off x="130238" y="1802265"/>
                <a:ext cx="169935" cy="161613"/>
              </a:xfrm>
              <a:custGeom>
                <a:avLst/>
                <a:gdLst/>
                <a:ahLst/>
                <a:cxnLst/>
                <a:rect l="l" t="t" r="r" b="b"/>
                <a:pathLst>
                  <a:path w="1789430" h="1701800">
                    <a:moveTo>
                      <a:pt x="922020" y="21590"/>
                    </a:moveTo>
                    <a:lnTo>
                      <a:pt x="1172210" y="529590"/>
                    </a:lnTo>
                    <a:cubicBezTo>
                      <a:pt x="1176020" y="538480"/>
                      <a:pt x="1184910" y="544830"/>
                      <a:pt x="1195070" y="546100"/>
                    </a:cubicBezTo>
                    <a:lnTo>
                      <a:pt x="1755140" y="627380"/>
                    </a:lnTo>
                    <a:cubicBezTo>
                      <a:pt x="1779270" y="631190"/>
                      <a:pt x="1789430" y="661670"/>
                      <a:pt x="1771650" y="678180"/>
                    </a:cubicBezTo>
                    <a:lnTo>
                      <a:pt x="1366520" y="1073150"/>
                    </a:lnTo>
                    <a:cubicBezTo>
                      <a:pt x="1358900" y="1079500"/>
                      <a:pt x="1356360" y="1089660"/>
                      <a:pt x="1357630" y="1099820"/>
                    </a:cubicBezTo>
                    <a:lnTo>
                      <a:pt x="1452880" y="1658620"/>
                    </a:lnTo>
                    <a:cubicBezTo>
                      <a:pt x="1456690" y="1682750"/>
                      <a:pt x="1431290" y="1701800"/>
                      <a:pt x="1409700" y="1690370"/>
                    </a:cubicBezTo>
                    <a:lnTo>
                      <a:pt x="908050" y="1426210"/>
                    </a:lnTo>
                    <a:cubicBezTo>
                      <a:pt x="899160" y="1421130"/>
                      <a:pt x="889000" y="1421130"/>
                      <a:pt x="880110" y="1426210"/>
                    </a:cubicBezTo>
                    <a:lnTo>
                      <a:pt x="378460" y="1690370"/>
                    </a:lnTo>
                    <a:cubicBezTo>
                      <a:pt x="356870" y="1701800"/>
                      <a:pt x="331470" y="1682750"/>
                      <a:pt x="335280" y="1658620"/>
                    </a:cubicBezTo>
                    <a:lnTo>
                      <a:pt x="430530" y="1099820"/>
                    </a:lnTo>
                    <a:cubicBezTo>
                      <a:pt x="431800" y="1089660"/>
                      <a:pt x="429260" y="1080770"/>
                      <a:pt x="421640" y="1073150"/>
                    </a:cubicBezTo>
                    <a:lnTo>
                      <a:pt x="17780" y="678180"/>
                    </a:lnTo>
                    <a:cubicBezTo>
                      <a:pt x="0" y="660400"/>
                      <a:pt x="10160" y="631190"/>
                      <a:pt x="34290" y="627380"/>
                    </a:cubicBezTo>
                    <a:lnTo>
                      <a:pt x="594360" y="546100"/>
                    </a:lnTo>
                    <a:cubicBezTo>
                      <a:pt x="604520" y="544830"/>
                      <a:pt x="612140" y="538480"/>
                      <a:pt x="617220" y="529590"/>
                    </a:cubicBezTo>
                    <a:lnTo>
                      <a:pt x="867410" y="21590"/>
                    </a:lnTo>
                    <a:cubicBezTo>
                      <a:pt x="878840" y="0"/>
                      <a:pt x="910590" y="0"/>
                      <a:pt x="922020" y="21590"/>
                    </a:cubicBez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7" name="Freeform 37"/>
              <p:cNvSpPr/>
              <p:nvPr/>
            </p:nvSpPr>
            <p:spPr>
              <a:xfrm rot="19028436">
                <a:off x="130238" y="970422"/>
                <a:ext cx="169935" cy="161613"/>
              </a:xfrm>
              <a:custGeom>
                <a:avLst/>
                <a:gdLst/>
                <a:ahLst/>
                <a:cxnLst/>
                <a:rect l="l" t="t" r="r" b="b"/>
                <a:pathLst>
                  <a:path w="1789430" h="1701800">
                    <a:moveTo>
                      <a:pt x="922020" y="21590"/>
                    </a:moveTo>
                    <a:lnTo>
                      <a:pt x="1172210" y="529590"/>
                    </a:lnTo>
                    <a:cubicBezTo>
                      <a:pt x="1176020" y="538480"/>
                      <a:pt x="1184910" y="544830"/>
                      <a:pt x="1195070" y="546100"/>
                    </a:cubicBezTo>
                    <a:lnTo>
                      <a:pt x="1755140" y="627380"/>
                    </a:lnTo>
                    <a:cubicBezTo>
                      <a:pt x="1779270" y="631190"/>
                      <a:pt x="1789430" y="661670"/>
                      <a:pt x="1771650" y="678180"/>
                    </a:cubicBezTo>
                    <a:lnTo>
                      <a:pt x="1366520" y="1073150"/>
                    </a:lnTo>
                    <a:cubicBezTo>
                      <a:pt x="1358900" y="1079500"/>
                      <a:pt x="1356360" y="1089660"/>
                      <a:pt x="1357630" y="1099820"/>
                    </a:cubicBezTo>
                    <a:lnTo>
                      <a:pt x="1452880" y="1658620"/>
                    </a:lnTo>
                    <a:cubicBezTo>
                      <a:pt x="1456690" y="1682750"/>
                      <a:pt x="1431290" y="1701800"/>
                      <a:pt x="1409700" y="1690370"/>
                    </a:cubicBezTo>
                    <a:lnTo>
                      <a:pt x="908050" y="1426210"/>
                    </a:lnTo>
                    <a:cubicBezTo>
                      <a:pt x="899160" y="1421130"/>
                      <a:pt x="889000" y="1421130"/>
                      <a:pt x="880110" y="1426210"/>
                    </a:cubicBezTo>
                    <a:lnTo>
                      <a:pt x="378460" y="1690370"/>
                    </a:lnTo>
                    <a:cubicBezTo>
                      <a:pt x="356870" y="1701800"/>
                      <a:pt x="331470" y="1682750"/>
                      <a:pt x="335280" y="1658620"/>
                    </a:cubicBezTo>
                    <a:lnTo>
                      <a:pt x="430530" y="1099820"/>
                    </a:lnTo>
                    <a:cubicBezTo>
                      <a:pt x="431800" y="1089660"/>
                      <a:pt x="429260" y="1080770"/>
                      <a:pt x="421640" y="1073150"/>
                    </a:cubicBezTo>
                    <a:lnTo>
                      <a:pt x="17780" y="678180"/>
                    </a:lnTo>
                    <a:cubicBezTo>
                      <a:pt x="0" y="660400"/>
                      <a:pt x="10160" y="631190"/>
                      <a:pt x="34290" y="627380"/>
                    </a:cubicBezTo>
                    <a:lnTo>
                      <a:pt x="594360" y="546100"/>
                    </a:lnTo>
                    <a:cubicBezTo>
                      <a:pt x="604520" y="544830"/>
                      <a:pt x="612140" y="538480"/>
                      <a:pt x="617220" y="529590"/>
                    </a:cubicBezTo>
                    <a:lnTo>
                      <a:pt x="867410" y="21590"/>
                    </a:lnTo>
                    <a:cubicBezTo>
                      <a:pt x="878840" y="0"/>
                      <a:pt x="910590" y="0"/>
                      <a:pt x="922020" y="21590"/>
                    </a:cubicBez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9" name="Freeform 39"/>
              <p:cNvSpPr/>
              <p:nvPr/>
            </p:nvSpPr>
            <p:spPr>
              <a:xfrm rot="19028436">
                <a:off x="130238" y="2634108"/>
                <a:ext cx="169935" cy="161613"/>
              </a:xfrm>
              <a:custGeom>
                <a:avLst/>
                <a:gdLst/>
                <a:ahLst/>
                <a:cxnLst/>
                <a:rect l="l" t="t" r="r" b="b"/>
                <a:pathLst>
                  <a:path w="1789430" h="1701800">
                    <a:moveTo>
                      <a:pt x="922020" y="21590"/>
                    </a:moveTo>
                    <a:lnTo>
                      <a:pt x="1172210" y="529590"/>
                    </a:lnTo>
                    <a:cubicBezTo>
                      <a:pt x="1176020" y="538480"/>
                      <a:pt x="1184910" y="544830"/>
                      <a:pt x="1195070" y="546100"/>
                    </a:cubicBezTo>
                    <a:lnTo>
                      <a:pt x="1755140" y="627380"/>
                    </a:lnTo>
                    <a:cubicBezTo>
                      <a:pt x="1779270" y="631190"/>
                      <a:pt x="1789430" y="661670"/>
                      <a:pt x="1771650" y="678180"/>
                    </a:cubicBezTo>
                    <a:lnTo>
                      <a:pt x="1366520" y="1073150"/>
                    </a:lnTo>
                    <a:cubicBezTo>
                      <a:pt x="1358900" y="1079500"/>
                      <a:pt x="1356360" y="1089660"/>
                      <a:pt x="1357630" y="1099820"/>
                    </a:cubicBezTo>
                    <a:lnTo>
                      <a:pt x="1452880" y="1658620"/>
                    </a:lnTo>
                    <a:cubicBezTo>
                      <a:pt x="1456690" y="1682750"/>
                      <a:pt x="1431290" y="1701800"/>
                      <a:pt x="1409700" y="1690370"/>
                    </a:cubicBezTo>
                    <a:lnTo>
                      <a:pt x="908050" y="1426210"/>
                    </a:lnTo>
                    <a:cubicBezTo>
                      <a:pt x="899160" y="1421130"/>
                      <a:pt x="889000" y="1421130"/>
                      <a:pt x="880110" y="1426210"/>
                    </a:cubicBezTo>
                    <a:lnTo>
                      <a:pt x="378460" y="1690370"/>
                    </a:lnTo>
                    <a:cubicBezTo>
                      <a:pt x="356870" y="1701800"/>
                      <a:pt x="331470" y="1682750"/>
                      <a:pt x="335280" y="1658620"/>
                    </a:cubicBezTo>
                    <a:lnTo>
                      <a:pt x="430530" y="1099820"/>
                    </a:lnTo>
                    <a:cubicBezTo>
                      <a:pt x="431800" y="1089660"/>
                      <a:pt x="429260" y="1080770"/>
                      <a:pt x="421640" y="1073150"/>
                    </a:cubicBezTo>
                    <a:lnTo>
                      <a:pt x="17780" y="678180"/>
                    </a:lnTo>
                    <a:cubicBezTo>
                      <a:pt x="0" y="660400"/>
                      <a:pt x="10160" y="631190"/>
                      <a:pt x="34290" y="627380"/>
                    </a:cubicBezTo>
                    <a:lnTo>
                      <a:pt x="594360" y="546100"/>
                    </a:lnTo>
                    <a:cubicBezTo>
                      <a:pt x="604520" y="544830"/>
                      <a:pt x="612140" y="538480"/>
                      <a:pt x="617220" y="529590"/>
                    </a:cubicBezTo>
                    <a:lnTo>
                      <a:pt x="867410" y="21590"/>
                    </a:lnTo>
                    <a:cubicBezTo>
                      <a:pt x="878840" y="0"/>
                      <a:pt x="910590" y="0"/>
                      <a:pt x="922020" y="21590"/>
                    </a:cubicBez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41" name="Freeform 41"/>
              <p:cNvSpPr/>
              <p:nvPr/>
            </p:nvSpPr>
            <p:spPr>
              <a:xfrm rot="19028436">
                <a:off x="130238" y="3465952"/>
                <a:ext cx="169935" cy="161613"/>
              </a:xfrm>
              <a:custGeom>
                <a:avLst/>
                <a:gdLst/>
                <a:ahLst/>
                <a:cxnLst/>
                <a:rect l="l" t="t" r="r" b="b"/>
                <a:pathLst>
                  <a:path w="1789430" h="1701800">
                    <a:moveTo>
                      <a:pt x="922020" y="21590"/>
                    </a:moveTo>
                    <a:lnTo>
                      <a:pt x="1172210" y="529590"/>
                    </a:lnTo>
                    <a:cubicBezTo>
                      <a:pt x="1176020" y="538480"/>
                      <a:pt x="1184910" y="544830"/>
                      <a:pt x="1195070" y="546100"/>
                    </a:cubicBezTo>
                    <a:lnTo>
                      <a:pt x="1755140" y="627380"/>
                    </a:lnTo>
                    <a:cubicBezTo>
                      <a:pt x="1779270" y="631190"/>
                      <a:pt x="1789430" y="661670"/>
                      <a:pt x="1771650" y="678180"/>
                    </a:cubicBezTo>
                    <a:lnTo>
                      <a:pt x="1366520" y="1073150"/>
                    </a:lnTo>
                    <a:cubicBezTo>
                      <a:pt x="1358900" y="1079500"/>
                      <a:pt x="1356360" y="1089660"/>
                      <a:pt x="1357630" y="1099820"/>
                    </a:cubicBezTo>
                    <a:lnTo>
                      <a:pt x="1452880" y="1658620"/>
                    </a:lnTo>
                    <a:cubicBezTo>
                      <a:pt x="1456690" y="1682750"/>
                      <a:pt x="1431290" y="1701800"/>
                      <a:pt x="1409700" y="1690370"/>
                    </a:cubicBezTo>
                    <a:lnTo>
                      <a:pt x="908050" y="1426210"/>
                    </a:lnTo>
                    <a:cubicBezTo>
                      <a:pt x="899160" y="1421130"/>
                      <a:pt x="889000" y="1421130"/>
                      <a:pt x="880110" y="1426210"/>
                    </a:cubicBezTo>
                    <a:lnTo>
                      <a:pt x="378460" y="1690370"/>
                    </a:lnTo>
                    <a:cubicBezTo>
                      <a:pt x="356870" y="1701800"/>
                      <a:pt x="331470" y="1682750"/>
                      <a:pt x="335280" y="1658620"/>
                    </a:cubicBezTo>
                    <a:lnTo>
                      <a:pt x="430530" y="1099820"/>
                    </a:lnTo>
                    <a:cubicBezTo>
                      <a:pt x="431800" y="1089660"/>
                      <a:pt x="429260" y="1080770"/>
                      <a:pt x="421640" y="1073150"/>
                    </a:cubicBezTo>
                    <a:lnTo>
                      <a:pt x="17780" y="678180"/>
                    </a:lnTo>
                    <a:cubicBezTo>
                      <a:pt x="0" y="660400"/>
                      <a:pt x="10160" y="631190"/>
                      <a:pt x="34290" y="627380"/>
                    </a:cubicBezTo>
                    <a:lnTo>
                      <a:pt x="594360" y="546100"/>
                    </a:lnTo>
                    <a:cubicBezTo>
                      <a:pt x="604520" y="544830"/>
                      <a:pt x="612140" y="538480"/>
                      <a:pt x="617220" y="529590"/>
                    </a:cubicBezTo>
                    <a:lnTo>
                      <a:pt x="867410" y="21590"/>
                    </a:lnTo>
                    <a:cubicBezTo>
                      <a:pt x="878840" y="0"/>
                      <a:pt x="910590" y="0"/>
                      <a:pt x="922020" y="21590"/>
                    </a:cubicBez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/>
              <a:lstStyle/>
              <a:p>
                <a:endParaRPr lang="en-US" dirty="0"/>
              </a:p>
            </p:txBody>
          </p:sp>
        </p:grp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8414DB22-B13C-4644-4981-F00B4AB5CD13}"/>
                </a:ext>
              </a:extLst>
            </p:cNvPr>
            <p:cNvSpPr/>
            <p:nvPr/>
          </p:nvSpPr>
          <p:spPr>
            <a:xfrm rot="19302863">
              <a:off x="-1173560" y="2568152"/>
              <a:ext cx="12394736" cy="8451490"/>
            </a:xfrm>
            <a:custGeom>
              <a:avLst/>
              <a:gdLst>
                <a:gd name="connsiteX0" fmla="*/ 6499263 w 12394736"/>
                <a:gd name="connsiteY0" fmla="*/ 7931025 h 8451490"/>
                <a:gd name="connsiteX1" fmla="*/ 6088437 w 12394736"/>
                <a:gd name="connsiteY1" fmla="*/ 8451490 h 8451490"/>
                <a:gd name="connsiteX2" fmla="*/ 5257089 w 12394736"/>
                <a:gd name="connsiteY2" fmla="*/ 8451490 h 8451490"/>
                <a:gd name="connsiteX3" fmla="*/ 4597727 w 12394736"/>
                <a:gd name="connsiteY3" fmla="*/ 7931026 h 8451490"/>
                <a:gd name="connsiteX4" fmla="*/ 7399008 w 12394736"/>
                <a:gd name="connsiteY4" fmla="*/ 6791163 h 8451490"/>
                <a:gd name="connsiteX5" fmla="*/ 6988184 w 12394736"/>
                <a:gd name="connsiteY5" fmla="*/ 7311625 h 8451490"/>
                <a:gd name="connsiteX6" fmla="*/ 3813025 w 12394736"/>
                <a:gd name="connsiteY6" fmla="*/ 7311625 h 8451490"/>
                <a:gd name="connsiteX7" fmla="*/ 3153665 w 12394736"/>
                <a:gd name="connsiteY7" fmla="*/ 6791162 h 8451490"/>
                <a:gd name="connsiteX8" fmla="*/ 8218592 w 12394736"/>
                <a:gd name="connsiteY8" fmla="*/ 5752854 h 8451490"/>
                <a:gd name="connsiteX9" fmla="*/ 7807767 w 12394736"/>
                <a:gd name="connsiteY9" fmla="*/ 6273317 h 8451490"/>
                <a:gd name="connsiteX10" fmla="*/ 2497620 w 12394736"/>
                <a:gd name="connsiteY10" fmla="*/ 6273317 h 8451490"/>
                <a:gd name="connsiteX11" fmla="*/ 1838259 w 12394736"/>
                <a:gd name="connsiteY11" fmla="*/ 5752854 h 8451490"/>
                <a:gd name="connsiteX12" fmla="*/ 9138028 w 12394736"/>
                <a:gd name="connsiteY12" fmla="*/ 4588045 h 8451490"/>
                <a:gd name="connsiteX13" fmla="*/ 8727202 w 12394736"/>
                <a:gd name="connsiteY13" fmla="*/ 5108509 h 8451490"/>
                <a:gd name="connsiteX14" fmla="*/ 1021955 w 12394736"/>
                <a:gd name="connsiteY14" fmla="*/ 5108508 h 8451490"/>
                <a:gd name="connsiteX15" fmla="*/ 362594 w 12394736"/>
                <a:gd name="connsiteY15" fmla="*/ 4588045 h 8451490"/>
                <a:gd name="connsiteX16" fmla="*/ 10037773 w 12394736"/>
                <a:gd name="connsiteY16" fmla="*/ 3448182 h 8451490"/>
                <a:gd name="connsiteX17" fmla="*/ 9626949 w 12394736"/>
                <a:gd name="connsiteY17" fmla="*/ 3968644 h 8451490"/>
                <a:gd name="connsiteX18" fmla="*/ 0 w 12394736"/>
                <a:gd name="connsiteY18" fmla="*/ 3968644 h 8451490"/>
                <a:gd name="connsiteX19" fmla="*/ 410824 w 12394736"/>
                <a:gd name="connsiteY19" fmla="*/ 3448181 h 8451490"/>
                <a:gd name="connsiteX20" fmla="*/ 10940396 w 12394736"/>
                <a:gd name="connsiteY20" fmla="*/ 2304673 h 8451490"/>
                <a:gd name="connsiteX21" fmla="*/ 10529571 w 12394736"/>
                <a:gd name="connsiteY21" fmla="*/ 2825136 h 8451490"/>
                <a:gd name="connsiteX22" fmla="*/ 902622 w 12394736"/>
                <a:gd name="connsiteY22" fmla="*/ 2825136 h 8451490"/>
                <a:gd name="connsiteX23" fmla="*/ 1313447 w 12394736"/>
                <a:gd name="connsiteY23" fmla="*/ 2304673 h 8451490"/>
                <a:gd name="connsiteX24" fmla="*/ 11859832 w 12394736"/>
                <a:gd name="connsiteY24" fmla="*/ 1139864 h 8451490"/>
                <a:gd name="connsiteX25" fmla="*/ 11449006 w 12394736"/>
                <a:gd name="connsiteY25" fmla="*/ 1660328 h 8451490"/>
                <a:gd name="connsiteX26" fmla="*/ 1822058 w 12394736"/>
                <a:gd name="connsiteY26" fmla="*/ 1660327 h 8451490"/>
                <a:gd name="connsiteX27" fmla="*/ 2232882 w 12394736"/>
                <a:gd name="connsiteY27" fmla="*/ 1139865 h 8451490"/>
                <a:gd name="connsiteX28" fmla="*/ 11809177 w 12394736"/>
                <a:gd name="connsiteY28" fmla="*/ 0 h 8451490"/>
                <a:gd name="connsiteX29" fmla="*/ 12394736 w 12394736"/>
                <a:gd name="connsiteY29" fmla="*/ 462208 h 8451490"/>
                <a:gd name="connsiteX30" fmla="*/ 12348753 w 12394736"/>
                <a:gd name="connsiteY30" fmla="*/ 520463 h 8451490"/>
                <a:gd name="connsiteX31" fmla="*/ 2721803 w 12394736"/>
                <a:gd name="connsiteY31" fmla="*/ 520464 h 8451490"/>
                <a:gd name="connsiteX32" fmla="*/ 3132628 w 12394736"/>
                <a:gd name="connsiteY32" fmla="*/ 1 h 8451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2394736" h="8451490">
                  <a:moveTo>
                    <a:pt x="6499263" y="7931025"/>
                  </a:moveTo>
                  <a:lnTo>
                    <a:pt x="6088437" y="8451490"/>
                  </a:lnTo>
                  <a:lnTo>
                    <a:pt x="5257089" y="8451490"/>
                  </a:lnTo>
                  <a:lnTo>
                    <a:pt x="4597727" y="7931026"/>
                  </a:lnTo>
                  <a:close/>
                  <a:moveTo>
                    <a:pt x="7399008" y="6791163"/>
                  </a:moveTo>
                  <a:lnTo>
                    <a:pt x="6988184" y="7311625"/>
                  </a:lnTo>
                  <a:lnTo>
                    <a:pt x="3813025" y="7311625"/>
                  </a:lnTo>
                  <a:lnTo>
                    <a:pt x="3153665" y="6791162"/>
                  </a:lnTo>
                  <a:close/>
                  <a:moveTo>
                    <a:pt x="8218592" y="5752854"/>
                  </a:moveTo>
                  <a:lnTo>
                    <a:pt x="7807767" y="6273317"/>
                  </a:lnTo>
                  <a:lnTo>
                    <a:pt x="2497620" y="6273317"/>
                  </a:lnTo>
                  <a:lnTo>
                    <a:pt x="1838259" y="5752854"/>
                  </a:lnTo>
                  <a:close/>
                  <a:moveTo>
                    <a:pt x="9138028" y="4588045"/>
                  </a:moveTo>
                  <a:lnTo>
                    <a:pt x="8727202" y="5108509"/>
                  </a:lnTo>
                  <a:lnTo>
                    <a:pt x="1021955" y="5108508"/>
                  </a:lnTo>
                  <a:lnTo>
                    <a:pt x="362594" y="4588045"/>
                  </a:lnTo>
                  <a:close/>
                  <a:moveTo>
                    <a:pt x="10037773" y="3448182"/>
                  </a:moveTo>
                  <a:lnTo>
                    <a:pt x="9626949" y="3968644"/>
                  </a:lnTo>
                  <a:lnTo>
                    <a:pt x="0" y="3968644"/>
                  </a:lnTo>
                  <a:lnTo>
                    <a:pt x="410824" y="3448181"/>
                  </a:lnTo>
                  <a:close/>
                  <a:moveTo>
                    <a:pt x="10940396" y="2304673"/>
                  </a:moveTo>
                  <a:lnTo>
                    <a:pt x="10529571" y="2825136"/>
                  </a:lnTo>
                  <a:lnTo>
                    <a:pt x="902622" y="2825136"/>
                  </a:lnTo>
                  <a:lnTo>
                    <a:pt x="1313447" y="2304673"/>
                  </a:lnTo>
                  <a:close/>
                  <a:moveTo>
                    <a:pt x="11859832" y="1139864"/>
                  </a:moveTo>
                  <a:lnTo>
                    <a:pt x="11449006" y="1660328"/>
                  </a:lnTo>
                  <a:lnTo>
                    <a:pt x="1822058" y="1660327"/>
                  </a:lnTo>
                  <a:lnTo>
                    <a:pt x="2232882" y="1139865"/>
                  </a:lnTo>
                  <a:close/>
                  <a:moveTo>
                    <a:pt x="11809177" y="0"/>
                  </a:moveTo>
                  <a:lnTo>
                    <a:pt x="12394736" y="462208"/>
                  </a:lnTo>
                  <a:lnTo>
                    <a:pt x="12348753" y="520463"/>
                  </a:lnTo>
                  <a:lnTo>
                    <a:pt x="2721803" y="520464"/>
                  </a:lnTo>
                  <a:lnTo>
                    <a:pt x="3132628" y="1"/>
                  </a:lnTo>
                  <a:close/>
                </a:path>
              </a:pathLst>
            </a:custGeom>
            <a:solidFill>
              <a:srgbClr val="FF522C"/>
            </a:solidFill>
          </p:spPr>
          <p:txBody>
            <a:bodyPr wrap="square">
              <a:noAutofit/>
            </a:bodyPr>
            <a:lstStyle/>
            <a:p>
              <a:endParaRPr lang="en-US" dirty="0"/>
            </a:p>
          </p:txBody>
        </p:sp>
        <p:grpSp>
          <p:nvGrpSpPr>
            <p:cNvPr id="167" name="Group 166">
              <a:extLst>
                <a:ext uri="{FF2B5EF4-FFF2-40B4-BE49-F238E27FC236}">
                  <a16:creationId xmlns:a16="http://schemas.microsoft.com/office/drawing/2014/main" id="{B5D68226-AA23-E9B0-911C-7B89A7F4314C}"/>
                </a:ext>
              </a:extLst>
            </p:cNvPr>
            <p:cNvGrpSpPr/>
            <p:nvPr/>
          </p:nvGrpSpPr>
          <p:grpSpPr>
            <a:xfrm>
              <a:off x="453984" y="457155"/>
              <a:ext cx="6648532" cy="9779089"/>
              <a:chOff x="453984" y="457155"/>
              <a:chExt cx="6648532" cy="9779089"/>
            </a:xfrm>
          </p:grpSpPr>
          <p:sp>
            <p:nvSpPr>
              <p:cNvPr id="22" name="Freeform 22"/>
              <p:cNvSpPr/>
              <p:nvPr/>
            </p:nvSpPr>
            <p:spPr>
              <a:xfrm>
                <a:off x="453984" y="457155"/>
                <a:ext cx="6648532" cy="9779089"/>
              </a:xfrm>
              <a:custGeom>
                <a:avLst/>
                <a:gdLst/>
                <a:ahLst/>
                <a:cxnLst/>
                <a:rect l="l" t="t" r="r" b="b"/>
                <a:pathLst>
                  <a:path w="2457452" h="3579890">
                    <a:moveTo>
                      <a:pt x="23289" y="0"/>
                    </a:moveTo>
                    <a:lnTo>
                      <a:pt x="2434163" y="0"/>
                    </a:lnTo>
                    <a:cubicBezTo>
                      <a:pt x="2440339" y="0"/>
                      <a:pt x="2446263" y="2454"/>
                      <a:pt x="2450630" y="6821"/>
                    </a:cubicBezTo>
                    <a:cubicBezTo>
                      <a:pt x="2454998" y="11189"/>
                      <a:pt x="2457452" y="17112"/>
                      <a:pt x="2457452" y="23289"/>
                    </a:cubicBezTo>
                    <a:lnTo>
                      <a:pt x="2457452" y="3556601"/>
                    </a:lnTo>
                    <a:cubicBezTo>
                      <a:pt x="2457452" y="3562777"/>
                      <a:pt x="2454998" y="3568701"/>
                      <a:pt x="2450630" y="3573069"/>
                    </a:cubicBezTo>
                    <a:cubicBezTo>
                      <a:pt x="2446263" y="3577436"/>
                      <a:pt x="2440339" y="3579890"/>
                      <a:pt x="2434163" y="3579890"/>
                    </a:cubicBezTo>
                    <a:lnTo>
                      <a:pt x="23289" y="3579890"/>
                    </a:lnTo>
                    <a:cubicBezTo>
                      <a:pt x="10427" y="3579890"/>
                      <a:pt x="0" y="3569463"/>
                      <a:pt x="0" y="3556601"/>
                    </a:cubicBezTo>
                    <a:lnTo>
                      <a:pt x="0" y="23289"/>
                    </a:lnTo>
                    <a:cubicBezTo>
                      <a:pt x="0" y="17112"/>
                      <a:pt x="2454" y="11189"/>
                      <a:pt x="6821" y="6821"/>
                    </a:cubicBezTo>
                    <a:cubicBezTo>
                      <a:pt x="11189" y="2454"/>
                      <a:pt x="17112" y="0"/>
                      <a:pt x="23289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sq">
                <a:solidFill>
                  <a:srgbClr val="D40605"/>
                </a:solidFill>
                <a:prstDash val="solid"/>
                <a:miter/>
              </a:ln>
            </p:spPr>
            <p:txBody>
              <a:bodyPr/>
              <a:lstStyle/>
              <a:p>
                <a:endParaRPr lang="en-US" dirty="0"/>
              </a:p>
            </p:txBody>
          </p:sp>
          <p:grpSp>
            <p:nvGrpSpPr>
              <p:cNvPr id="107" name="Group 106">
                <a:extLst>
                  <a:ext uri="{FF2B5EF4-FFF2-40B4-BE49-F238E27FC236}">
                    <a16:creationId xmlns:a16="http://schemas.microsoft.com/office/drawing/2014/main" id="{F870FD5E-8189-B5E0-A3C7-FBB488BDDCD6}"/>
                  </a:ext>
                </a:extLst>
              </p:cNvPr>
              <p:cNvGrpSpPr/>
              <p:nvPr/>
            </p:nvGrpSpPr>
            <p:grpSpPr>
              <a:xfrm>
                <a:off x="868990" y="3398586"/>
                <a:ext cx="5818520" cy="2062811"/>
                <a:chOff x="868990" y="3395434"/>
                <a:chExt cx="5818520" cy="2062811"/>
              </a:xfrm>
            </p:grpSpPr>
            <p:grpSp>
              <p:nvGrpSpPr>
                <p:cNvPr id="40" name="Group 39">
                  <a:extLst>
                    <a:ext uri="{FF2B5EF4-FFF2-40B4-BE49-F238E27FC236}">
                      <a16:creationId xmlns:a16="http://schemas.microsoft.com/office/drawing/2014/main" id="{A10B610A-3728-AB08-941C-826B74A918BB}"/>
                    </a:ext>
                  </a:extLst>
                </p:cNvPr>
                <p:cNvGrpSpPr/>
                <p:nvPr/>
              </p:nvGrpSpPr>
              <p:grpSpPr>
                <a:xfrm>
                  <a:off x="868990" y="3395434"/>
                  <a:ext cx="2695337" cy="2062811"/>
                  <a:chOff x="853447" y="3395434"/>
                  <a:chExt cx="2695337" cy="2062811"/>
                </a:xfrm>
              </p:grpSpPr>
              <p:sp>
                <p:nvSpPr>
                  <p:cNvPr id="73" name="AutoShape 73"/>
                  <p:cNvSpPr/>
                  <p:nvPr/>
                </p:nvSpPr>
                <p:spPr>
                  <a:xfrm flipV="1">
                    <a:off x="853489" y="3784130"/>
                    <a:ext cx="2695253" cy="0"/>
                  </a:xfrm>
                  <a:prstGeom prst="line">
                    <a:avLst/>
                  </a:prstGeom>
                  <a:ln w="12700" cap="flat">
                    <a:solidFill>
                      <a:srgbClr val="09489F">
                        <a:alpha val="60000"/>
                      </a:srgbClr>
                    </a:solidFill>
                    <a:prstDash val="solid"/>
                    <a:headEnd type="none" w="sm" len="sm"/>
                    <a:tailEnd type="none" w="sm" len="sm"/>
                  </a:ln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  <p:sp>
                <p:nvSpPr>
                  <p:cNvPr id="74" name="AutoShape 74"/>
                  <p:cNvSpPr/>
                  <p:nvPr/>
                </p:nvSpPr>
                <p:spPr>
                  <a:xfrm>
                    <a:off x="853447" y="4118952"/>
                    <a:ext cx="2695337" cy="0"/>
                  </a:xfrm>
                  <a:prstGeom prst="line">
                    <a:avLst/>
                  </a:prstGeom>
                  <a:ln w="12700" cap="flat">
                    <a:solidFill>
                      <a:srgbClr val="09489F">
                        <a:alpha val="60000"/>
                      </a:srgbClr>
                    </a:solidFill>
                    <a:prstDash val="solid"/>
                    <a:headEnd type="none" w="sm" len="sm"/>
                    <a:tailEnd type="none" w="sm" len="sm"/>
                  </a:ln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  <p:sp>
                <p:nvSpPr>
                  <p:cNvPr id="75" name="AutoShape 75"/>
                  <p:cNvSpPr/>
                  <p:nvPr/>
                </p:nvSpPr>
                <p:spPr>
                  <a:xfrm>
                    <a:off x="853447" y="4453776"/>
                    <a:ext cx="2695337" cy="0"/>
                  </a:xfrm>
                  <a:prstGeom prst="line">
                    <a:avLst/>
                  </a:prstGeom>
                  <a:ln w="12700" cap="flat">
                    <a:solidFill>
                      <a:srgbClr val="09489F">
                        <a:alpha val="60000"/>
                      </a:srgbClr>
                    </a:solidFill>
                    <a:prstDash val="solid"/>
                    <a:headEnd type="none" w="sm" len="sm"/>
                    <a:tailEnd type="none" w="sm" len="sm"/>
                  </a:ln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  <p:sp>
                <p:nvSpPr>
                  <p:cNvPr id="76" name="AutoShape 76"/>
                  <p:cNvSpPr/>
                  <p:nvPr/>
                </p:nvSpPr>
                <p:spPr>
                  <a:xfrm>
                    <a:off x="853447" y="4788598"/>
                    <a:ext cx="2695337" cy="0"/>
                  </a:xfrm>
                  <a:prstGeom prst="line">
                    <a:avLst/>
                  </a:prstGeom>
                  <a:ln w="12700" cap="flat">
                    <a:solidFill>
                      <a:srgbClr val="09489F">
                        <a:alpha val="60000"/>
                      </a:srgbClr>
                    </a:solidFill>
                    <a:prstDash val="solid"/>
                    <a:headEnd type="none" w="sm" len="sm"/>
                    <a:tailEnd type="none" w="sm" len="sm"/>
                  </a:ln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  <p:sp>
                <p:nvSpPr>
                  <p:cNvPr id="77" name="AutoShape 77"/>
                  <p:cNvSpPr/>
                  <p:nvPr/>
                </p:nvSpPr>
                <p:spPr>
                  <a:xfrm>
                    <a:off x="853447" y="5123421"/>
                    <a:ext cx="2695337" cy="0"/>
                  </a:xfrm>
                  <a:prstGeom prst="line">
                    <a:avLst/>
                  </a:prstGeom>
                  <a:ln w="12700" cap="flat">
                    <a:solidFill>
                      <a:srgbClr val="09489F">
                        <a:alpha val="60000"/>
                      </a:srgbClr>
                    </a:solidFill>
                    <a:prstDash val="solid"/>
                    <a:headEnd type="none" w="sm" len="sm"/>
                    <a:tailEnd type="none" w="sm" len="sm"/>
                  </a:ln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  <p:sp>
                <p:nvSpPr>
                  <p:cNvPr id="78" name="AutoShape 78"/>
                  <p:cNvSpPr/>
                  <p:nvPr/>
                </p:nvSpPr>
                <p:spPr>
                  <a:xfrm>
                    <a:off x="853447" y="5458245"/>
                    <a:ext cx="2695337" cy="0"/>
                  </a:xfrm>
                  <a:prstGeom prst="line">
                    <a:avLst/>
                  </a:prstGeom>
                  <a:ln w="12700" cap="flat">
                    <a:solidFill>
                      <a:srgbClr val="09489F">
                        <a:alpha val="60000"/>
                      </a:srgbClr>
                    </a:solidFill>
                    <a:prstDash val="solid"/>
                    <a:headEnd type="none" w="sm" len="sm"/>
                    <a:tailEnd type="none" w="sm" len="sm"/>
                  </a:ln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  <p:sp>
                <p:nvSpPr>
                  <p:cNvPr id="85" name="TextBox 85"/>
                  <p:cNvSpPr txBox="1"/>
                  <p:nvPr/>
                </p:nvSpPr>
                <p:spPr>
                  <a:xfrm>
                    <a:off x="1285704" y="3395434"/>
                    <a:ext cx="1830823" cy="118109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marL="0" lvl="0" indent="0" algn="ctr">
                      <a:lnSpc>
                        <a:spcPts val="972"/>
                      </a:lnSpc>
                      <a:spcBef>
                        <a:spcPct val="0"/>
                      </a:spcBef>
                    </a:pPr>
                    <a:r>
                      <a:rPr lang="en-US" sz="700" b="1" spc="34" dirty="0">
                        <a:solidFill>
                          <a:srgbClr val="FF522C"/>
                        </a:solidFill>
                        <a:latin typeface="Roboto Slab" pitchFamily="2" charset="0"/>
                        <a:ea typeface="Roboto Slab" pitchFamily="2" charset="0"/>
                      </a:rPr>
                      <a:t>MAIN COURSE</a:t>
                    </a:r>
                  </a:p>
                </p:txBody>
              </p:sp>
            </p:grpSp>
            <p:grpSp>
              <p:nvGrpSpPr>
                <p:cNvPr id="48" name="Group 47">
                  <a:extLst>
                    <a:ext uri="{FF2B5EF4-FFF2-40B4-BE49-F238E27FC236}">
                      <a16:creationId xmlns:a16="http://schemas.microsoft.com/office/drawing/2014/main" id="{DDF3821C-AF7A-78BF-5DF2-990DF109FD7B}"/>
                    </a:ext>
                  </a:extLst>
                </p:cNvPr>
                <p:cNvGrpSpPr/>
                <p:nvPr/>
              </p:nvGrpSpPr>
              <p:grpSpPr>
                <a:xfrm>
                  <a:off x="3992173" y="3395434"/>
                  <a:ext cx="2695337" cy="2062811"/>
                  <a:chOff x="853447" y="3395434"/>
                  <a:chExt cx="2695337" cy="2062811"/>
                </a:xfrm>
              </p:grpSpPr>
              <p:sp>
                <p:nvSpPr>
                  <p:cNvPr id="61" name="AutoShape 73">
                    <a:extLst>
                      <a:ext uri="{FF2B5EF4-FFF2-40B4-BE49-F238E27FC236}">
                        <a16:creationId xmlns:a16="http://schemas.microsoft.com/office/drawing/2014/main" id="{5541A3A1-6BF9-0779-2FF4-530D868A12FC}"/>
                      </a:ext>
                    </a:extLst>
                  </p:cNvPr>
                  <p:cNvSpPr/>
                  <p:nvPr/>
                </p:nvSpPr>
                <p:spPr>
                  <a:xfrm flipV="1">
                    <a:off x="853489" y="3784130"/>
                    <a:ext cx="2695253" cy="0"/>
                  </a:xfrm>
                  <a:prstGeom prst="line">
                    <a:avLst/>
                  </a:prstGeom>
                  <a:ln w="12700" cap="flat">
                    <a:solidFill>
                      <a:srgbClr val="09489F">
                        <a:alpha val="60000"/>
                      </a:srgbClr>
                    </a:solidFill>
                    <a:prstDash val="solid"/>
                    <a:headEnd type="none" w="sm" len="sm"/>
                    <a:tailEnd type="none" w="sm" len="sm"/>
                  </a:ln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  <p:sp>
                <p:nvSpPr>
                  <p:cNvPr id="72" name="AutoShape 74">
                    <a:extLst>
                      <a:ext uri="{FF2B5EF4-FFF2-40B4-BE49-F238E27FC236}">
                        <a16:creationId xmlns:a16="http://schemas.microsoft.com/office/drawing/2014/main" id="{93147CCC-FEF6-989E-188B-D585D34946CC}"/>
                      </a:ext>
                    </a:extLst>
                  </p:cNvPr>
                  <p:cNvSpPr/>
                  <p:nvPr/>
                </p:nvSpPr>
                <p:spPr>
                  <a:xfrm>
                    <a:off x="853447" y="4118952"/>
                    <a:ext cx="2695337" cy="0"/>
                  </a:xfrm>
                  <a:prstGeom prst="line">
                    <a:avLst/>
                  </a:prstGeom>
                  <a:ln w="12700" cap="flat">
                    <a:solidFill>
                      <a:srgbClr val="09489F">
                        <a:alpha val="60000"/>
                      </a:srgbClr>
                    </a:solidFill>
                    <a:prstDash val="solid"/>
                    <a:headEnd type="none" w="sm" len="sm"/>
                    <a:tailEnd type="none" w="sm" len="sm"/>
                  </a:ln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  <p:sp>
                <p:nvSpPr>
                  <p:cNvPr id="88" name="AutoShape 75">
                    <a:extLst>
                      <a:ext uri="{FF2B5EF4-FFF2-40B4-BE49-F238E27FC236}">
                        <a16:creationId xmlns:a16="http://schemas.microsoft.com/office/drawing/2014/main" id="{4CF1AD51-3C66-808F-9CB7-1EBC23D96377}"/>
                      </a:ext>
                    </a:extLst>
                  </p:cNvPr>
                  <p:cNvSpPr/>
                  <p:nvPr/>
                </p:nvSpPr>
                <p:spPr>
                  <a:xfrm>
                    <a:off x="853447" y="4453776"/>
                    <a:ext cx="2695337" cy="0"/>
                  </a:xfrm>
                  <a:prstGeom prst="line">
                    <a:avLst/>
                  </a:prstGeom>
                  <a:ln w="12700" cap="flat">
                    <a:solidFill>
                      <a:srgbClr val="09489F">
                        <a:alpha val="60000"/>
                      </a:srgbClr>
                    </a:solidFill>
                    <a:prstDash val="solid"/>
                    <a:headEnd type="none" w="sm" len="sm"/>
                    <a:tailEnd type="none" w="sm" len="sm"/>
                  </a:ln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  <p:sp>
                <p:nvSpPr>
                  <p:cNvPr id="91" name="AutoShape 76">
                    <a:extLst>
                      <a:ext uri="{FF2B5EF4-FFF2-40B4-BE49-F238E27FC236}">
                        <a16:creationId xmlns:a16="http://schemas.microsoft.com/office/drawing/2014/main" id="{3FE816DC-2BAA-17D9-3120-E21FEEE75545}"/>
                      </a:ext>
                    </a:extLst>
                  </p:cNvPr>
                  <p:cNvSpPr/>
                  <p:nvPr/>
                </p:nvSpPr>
                <p:spPr>
                  <a:xfrm>
                    <a:off x="853447" y="4788598"/>
                    <a:ext cx="2695337" cy="0"/>
                  </a:xfrm>
                  <a:prstGeom prst="line">
                    <a:avLst/>
                  </a:prstGeom>
                  <a:ln w="12700" cap="flat">
                    <a:solidFill>
                      <a:srgbClr val="09489F">
                        <a:alpha val="60000"/>
                      </a:srgbClr>
                    </a:solidFill>
                    <a:prstDash val="solid"/>
                    <a:headEnd type="none" w="sm" len="sm"/>
                    <a:tailEnd type="none" w="sm" len="sm"/>
                  </a:ln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  <p:sp>
                <p:nvSpPr>
                  <p:cNvPr id="104" name="AutoShape 77">
                    <a:extLst>
                      <a:ext uri="{FF2B5EF4-FFF2-40B4-BE49-F238E27FC236}">
                        <a16:creationId xmlns:a16="http://schemas.microsoft.com/office/drawing/2014/main" id="{5FA2B936-6CAA-807D-96D8-55EF1EFDA979}"/>
                      </a:ext>
                    </a:extLst>
                  </p:cNvPr>
                  <p:cNvSpPr/>
                  <p:nvPr/>
                </p:nvSpPr>
                <p:spPr>
                  <a:xfrm>
                    <a:off x="853447" y="5123421"/>
                    <a:ext cx="2695337" cy="0"/>
                  </a:xfrm>
                  <a:prstGeom prst="line">
                    <a:avLst/>
                  </a:prstGeom>
                  <a:ln w="12700" cap="flat">
                    <a:solidFill>
                      <a:srgbClr val="09489F">
                        <a:alpha val="60000"/>
                      </a:srgbClr>
                    </a:solidFill>
                    <a:prstDash val="solid"/>
                    <a:headEnd type="none" w="sm" len="sm"/>
                    <a:tailEnd type="none" w="sm" len="sm"/>
                  </a:ln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  <p:sp>
                <p:nvSpPr>
                  <p:cNvPr id="105" name="AutoShape 78">
                    <a:extLst>
                      <a:ext uri="{FF2B5EF4-FFF2-40B4-BE49-F238E27FC236}">
                        <a16:creationId xmlns:a16="http://schemas.microsoft.com/office/drawing/2014/main" id="{D1AF9DD3-5E14-F1EB-8520-A4086F9725F7}"/>
                      </a:ext>
                    </a:extLst>
                  </p:cNvPr>
                  <p:cNvSpPr/>
                  <p:nvPr/>
                </p:nvSpPr>
                <p:spPr>
                  <a:xfrm>
                    <a:off x="853447" y="5458245"/>
                    <a:ext cx="2695337" cy="0"/>
                  </a:xfrm>
                  <a:prstGeom prst="line">
                    <a:avLst/>
                  </a:prstGeom>
                  <a:ln w="12700" cap="flat">
                    <a:solidFill>
                      <a:srgbClr val="09489F">
                        <a:alpha val="60000"/>
                      </a:srgbClr>
                    </a:solidFill>
                    <a:prstDash val="solid"/>
                    <a:headEnd type="none" w="sm" len="sm"/>
                    <a:tailEnd type="none" w="sm" len="sm"/>
                  </a:ln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  <p:sp>
                <p:nvSpPr>
                  <p:cNvPr id="106" name="TextBox 85">
                    <a:extLst>
                      <a:ext uri="{FF2B5EF4-FFF2-40B4-BE49-F238E27FC236}">
                        <a16:creationId xmlns:a16="http://schemas.microsoft.com/office/drawing/2014/main" id="{D96A5A21-94F8-FDC3-ED40-C32488789537}"/>
                      </a:ext>
                    </a:extLst>
                  </p:cNvPr>
                  <p:cNvSpPr txBox="1"/>
                  <p:nvPr/>
                </p:nvSpPr>
                <p:spPr>
                  <a:xfrm>
                    <a:off x="1285704" y="3395434"/>
                    <a:ext cx="1830823" cy="118109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marL="0" lvl="0" indent="0" algn="ctr">
                      <a:lnSpc>
                        <a:spcPts val="972"/>
                      </a:lnSpc>
                      <a:spcBef>
                        <a:spcPct val="0"/>
                      </a:spcBef>
                    </a:pPr>
                    <a:r>
                      <a:rPr lang="en-US" sz="700" b="1" u="none" strike="noStrike" spc="34" dirty="0">
                        <a:solidFill>
                          <a:srgbClr val="FF522C"/>
                        </a:solidFill>
                        <a:latin typeface="Roboto Slab" pitchFamily="2" charset="0"/>
                        <a:ea typeface="Roboto Slab" pitchFamily="2" charset="0"/>
                      </a:rPr>
                      <a:t>SIDE DISHES</a:t>
                    </a:r>
                  </a:p>
                </p:txBody>
              </p:sp>
            </p:grpSp>
          </p:grpSp>
          <p:grpSp>
            <p:nvGrpSpPr>
              <p:cNvPr id="125" name="Group 124">
                <a:extLst>
                  <a:ext uri="{FF2B5EF4-FFF2-40B4-BE49-F238E27FC236}">
                    <a16:creationId xmlns:a16="http://schemas.microsoft.com/office/drawing/2014/main" id="{73D35254-F36A-F43C-EABC-5F33FFD9603C}"/>
                  </a:ext>
                </a:extLst>
              </p:cNvPr>
              <p:cNvGrpSpPr/>
              <p:nvPr/>
            </p:nvGrpSpPr>
            <p:grpSpPr>
              <a:xfrm>
                <a:off x="868990" y="6080742"/>
                <a:ext cx="5818520" cy="1727987"/>
                <a:chOff x="868990" y="5772894"/>
                <a:chExt cx="5818520" cy="1727987"/>
              </a:xfrm>
            </p:grpSpPr>
            <p:grpSp>
              <p:nvGrpSpPr>
                <p:cNvPr id="109" name="Group 108">
                  <a:extLst>
                    <a:ext uri="{FF2B5EF4-FFF2-40B4-BE49-F238E27FC236}">
                      <a16:creationId xmlns:a16="http://schemas.microsoft.com/office/drawing/2014/main" id="{68C20556-9681-9016-0CD9-83942FAECC7F}"/>
                    </a:ext>
                  </a:extLst>
                </p:cNvPr>
                <p:cNvGrpSpPr/>
                <p:nvPr/>
              </p:nvGrpSpPr>
              <p:grpSpPr>
                <a:xfrm>
                  <a:off x="868990" y="5772894"/>
                  <a:ext cx="2695337" cy="1727987"/>
                  <a:chOff x="853447" y="3395434"/>
                  <a:chExt cx="2695337" cy="1727987"/>
                </a:xfrm>
              </p:grpSpPr>
              <p:sp>
                <p:nvSpPr>
                  <p:cNvPr id="118" name="AutoShape 73">
                    <a:extLst>
                      <a:ext uri="{FF2B5EF4-FFF2-40B4-BE49-F238E27FC236}">
                        <a16:creationId xmlns:a16="http://schemas.microsoft.com/office/drawing/2014/main" id="{D84E7F51-0DA9-9E55-AF51-ABCCFC7597D7}"/>
                      </a:ext>
                    </a:extLst>
                  </p:cNvPr>
                  <p:cNvSpPr/>
                  <p:nvPr/>
                </p:nvSpPr>
                <p:spPr>
                  <a:xfrm flipV="1">
                    <a:off x="853489" y="3784130"/>
                    <a:ext cx="2695253" cy="0"/>
                  </a:xfrm>
                  <a:prstGeom prst="line">
                    <a:avLst/>
                  </a:prstGeom>
                  <a:ln w="12700" cap="flat">
                    <a:solidFill>
                      <a:srgbClr val="09489F">
                        <a:alpha val="60000"/>
                      </a:srgbClr>
                    </a:solidFill>
                    <a:prstDash val="solid"/>
                    <a:headEnd type="none" w="sm" len="sm"/>
                    <a:tailEnd type="none" w="sm" len="sm"/>
                  </a:ln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  <p:sp>
                <p:nvSpPr>
                  <p:cNvPr id="119" name="AutoShape 74">
                    <a:extLst>
                      <a:ext uri="{FF2B5EF4-FFF2-40B4-BE49-F238E27FC236}">
                        <a16:creationId xmlns:a16="http://schemas.microsoft.com/office/drawing/2014/main" id="{F33B0CFC-4978-8C16-D0FB-72832DC6B20F}"/>
                      </a:ext>
                    </a:extLst>
                  </p:cNvPr>
                  <p:cNvSpPr/>
                  <p:nvPr/>
                </p:nvSpPr>
                <p:spPr>
                  <a:xfrm>
                    <a:off x="853447" y="4118952"/>
                    <a:ext cx="2695337" cy="0"/>
                  </a:xfrm>
                  <a:prstGeom prst="line">
                    <a:avLst/>
                  </a:prstGeom>
                  <a:ln w="12700" cap="flat">
                    <a:solidFill>
                      <a:srgbClr val="09489F">
                        <a:alpha val="60000"/>
                      </a:srgbClr>
                    </a:solidFill>
                    <a:prstDash val="solid"/>
                    <a:headEnd type="none" w="sm" len="sm"/>
                    <a:tailEnd type="none" w="sm" len="sm"/>
                  </a:ln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  <p:sp>
                <p:nvSpPr>
                  <p:cNvPr id="120" name="AutoShape 75">
                    <a:extLst>
                      <a:ext uri="{FF2B5EF4-FFF2-40B4-BE49-F238E27FC236}">
                        <a16:creationId xmlns:a16="http://schemas.microsoft.com/office/drawing/2014/main" id="{5DCBD28A-3E14-9305-225B-34FA2675545C}"/>
                      </a:ext>
                    </a:extLst>
                  </p:cNvPr>
                  <p:cNvSpPr/>
                  <p:nvPr/>
                </p:nvSpPr>
                <p:spPr>
                  <a:xfrm>
                    <a:off x="853447" y="4453776"/>
                    <a:ext cx="2695337" cy="0"/>
                  </a:xfrm>
                  <a:prstGeom prst="line">
                    <a:avLst/>
                  </a:prstGeom>
                  <a:ln w="12700" cap="flat">
                    <a:solidFill>
                      <a:srgbClr val="09489F">
                        <a:alpha val="60000"/>
                      </a:srgbClr>
                    </a:solidFill>
                    <a:prstDash val="solid"/>
                    <a:headEnd type="none" w="sm" len="sm"/>
                    <a:tailEnd type="none" w="sm" len="sm"/>
                  </a:ln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  <p:sp>
                <p:nvSpPr>
                  <p:cNvPr id="121" name="AutoShape 76">
                    <a:extLst>
                      <a:ext uri="{FF2B5EF4-FFF2-40B4-BE49-F238E27FC236}">
                        <a16:creationId xmlns:a16="http://schemas.microsoft.com/office/drawing/2014/main" id="{2E980EA6-72C3-1453-BF89-84CD43134D92}"/>
                      </a:ext>
                    </a:extLst>
                  </p:cNvPr>
                  <p:cNvSpPr/>
                  <p:nvPr/>
                </p:nvSpPr>
                <p:spPr>
                  <a:xfrm>
                    <a:off x="853447" y="4788598"/>
                    <a:ext cx="2695337" cy="0"/>
                  </a:xfrm>
                  <a:prstGeom prst="line">
                    <a:avLst/>
                  </a:prstGeom>
                  <a:ln w="12700" cap="flat">
                    <a:solidFill>
                      <a:srgbClr val="09489F">
                        <a:alpha val="60000"/>
                      </a:srgbClr>
                    </a:solidFill>
                    <a:prstDash val="solid"/>
                    <a:headEnd type="none" w="sm" len="sm"/>
                    <a:tailEnd type="none" w="sm" len="sm"/>
                  </a:ln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  <p:sp>
                <p:nvSpPr>
                  <p:cNvPr id="122" name="AutoShape 77">
                    <a:extLst>
                      <a:ext uri="{FF2B5EF4-FFF2-40B4-BE49-F238E27FC236}">
                        <a16:creationId xmlns:a16="http://schemas.microsoft.com/office/drawing/2014/main" id="{FFD19FC1-2BA2-ED8A-324D-AF7194756D0D}"/>
                      </a:ext>
                    </a:extLst>
                  </p:cNvPr>
                  <p:cNvSpPr/>
                  <p:nvPr/>
                </p:nvSpPr>
                <p:spPr>
                  <a:xfrm>
                    <a:off x="853447" y="5123421"/>
                    <a:ext cx="2695337" cy="0"/>
                  </a:xfrm>
                  <a:prstGeom prst="line">
                    <a:avLst/>
                  </a:prstGeom>
                  <a:ln w="12700" cap="flat">
                    <a:solidFill>
                      <a:srgbClr val="09489F">
                        <a:alpha val="60000"/>
                      </a:srgbClr>
                    </a:solidFill>
                    <a:prstDash val="solid"/>
                    <a:headEnd type="none" w="sm" len="sm"/>
                    <a:tailEnd type="none" w="sm" len="sm"/>
                  </a:ln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  <p:sp>
                <p:nvSpPr>
                  <p:cNvPr id="124" name="TextBox 85">
                    <a:extLst>
                      <a:ext uri="{FF2B5EF4-FFF2-40B4-BE49-F238E27FC236}">
                        <a16:creationId xmlns:a16="http://schemas.microsoft.com/office/drawing/2014/main" id="{6C059DE5-155E-B4A6-DFDD-4FB6D7240F17}"/>
                      </a:ext>
                    </a:extLst>
                  </p:cNvPr>
                  <p:cNvSpPr txBox="1"/>
                  <p:nvPr/>
                </p:nvSpPr>
                <p:spPr>
                  <a:xfrm>
                    <a:off x="1285704" y="3395434"/>
                    <a:ext cx="1830823" cy="118109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marL="0" lvl="0" indent="0" algn="ctr">
                      <a:lnSpc>
                        <a:spcPts val="972"/>
                      </a:lnSpc>
                      <a:spcBef>
                        <a:spcPct val="0"/>
                      </a:spcBef>
                    </a:pPr>
                    <a:r>
                      <a:rPr lang="en-US" sz="700" b="1" u="none" strike="noStrike" spc="34" dirty="0">
                        <a:solidFill>
                          <a:srgbClr val="FF522C"/>
                        </a:solidFill>
                        <a:latin typeface="Roboto Slab" pitchFamily="2" charset="0"/>
                        <a:ea typeface="Roboto Slab" pitchFamily="2" charset="0"/>
                      </a:rPr>
                      <a:t>DESSERTS</a:t>
                    </a:r>
                  </a:p>
                </p:txBody>
              </p:sp>
            </p:grpSp>
            <p:grpSp>
              <p:nvGrpSpPr>
                <p:cNvPr id="110" name="Group 109">
                  <a:extLst>
                    <a:ext uri="{FF2B5EF4-FFF2-40B4-BE49-F238E27FC236}">
                      <a16:creationId xmlns:a16="http://schemas.microsoft.com/office/drawing/2014/main" id="{5D8D03A9-B78B-5FAF-7B04-5D0B03382745}"/>
                    </a:ext>
                  </a:extLst>
                </p:cNvPr>
                <p:cNvGrpSpPr/>
                <p:nvPr/>
              </p:nvGrpSpPr>
              <p:grpSpPr>
                <a:xfrm>
                  <a:off x="3992173" y="5772894"/>
                  <a:ext cx="2695337" cy="1727987"/>
                  <a:chOff x="853447" y="3395434"/>
                  <a:chExt cx="2695337" cy="1727987"/>
                </a:xfrm>
              </p:grpSpPr>
              <p:sp>
                <p:nvSpPr>
                  <p:cNvPr id="111" name="AutoShape 73">
                    <a:extLst>
                      <a:ext uri="{FF2B5EF4-FFF2-40B4-BE49-F238E27FC236}">
                        <a16:creationId xmlns:a16="http://schemas.microsoft.com/office/drawing/2014/main" id="{14B6DDD3-C9CA-3CA8-63CE-6C40D3A636FA}"/>
                      </a:ext>
                    </a:extLst>
                  </p:cNvPr>
                  <p:cNvSpPr/>
                  <p:nvPr/>
                </p:nvSpPr>
                <p:spPr>
                  <a:xfrm flipV="1">
                    <a:off x="853489" y="3784130"/>
                    <a:ext cx="2695253" cy="0"/>
                  </a:xfrm>
                  <a:prstGeom prst="line">
                    <a:avLst/>
                  </a:prstGeom>
                  <a:ln w="12700" cap="flat">
                    <a:solidFill>
                      <a:srgbClr val="09489F">
                        <a:alpha val="60000"/>
                      </a:srgbClr>
                    </a:solidFill>
                    <a:prstDash val="solid"/>
                    <a:headEnd type="none" w="sm" len="sm"/>
                    <a:tailEnd type="none" w="sm" len="sm"/>
                  </a:ln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  <p:sp>
                <p:nvSpPr>
                  <p:cNvPr id="112" name="AutoShape 74">
                    <a:extLst>
                      <a:ext uri="{FF2B5EF4-FFF2-40B4-BE49-F238E27FC236}">
                        <a16:creationId xmlns:a16="http://schemas.microsoft.com/office/drawing/2014/main" id="{EB9BC971-2296-3F29-179C-D682EA86523D}"/>
                      </a:ext>
                    </a:extLst>
                  </p:cNvPr>
                  <p:cNvSpPr/>
                  <p:nvPr/>
                </p:nvSpPr>
                <p:spPr>
                  <a:xfrm>
                    <a:off x="853447" y="4118952"/>
                    <a:ext cx="2695337" cy="0"/>
                  </a:xfrm>
                  <a:prstGeom prst="line">
                    <a:avLst/>
                  </a:prstGeom>
                  <a:ln w="12700" cap="flat">
                    <a:solidFill>
                      <a:srgbClr val="09489F">
                        <a:alpha val="60000"/>
                      </a:srgbClr>
                    </a:solidFill>
                    <a:prstDash val="solid"/>
                    <a:headEnd type="none" w="sm" len="sm"/>
                    <a:tailEnd type="none" w="sm" len="sm"/>
                  </a:ln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  <p:sp>
                <p:nvSpPr>
                  <p:cNvPr id="113" name="AutoShape 75">
                    <a:extLst>
                      <a:ext uri="{FF2B5EF4-FFF2-40B4-BE49-F238E27FC236}">
                        <a16:creationId xmlns:a16="http://schemas.microsoft.com/office/drawing/2014/main" id="{27329CE6-5CFA-5BF7-F2C1-4194EF953EB6}"/>
                      </a:ext>
                    </a:extLst>
                  </p:cNvPr>
                  <p:cNvSpPr/>
                  <p:nvPr/>
                </p:nvSpPr>
                <p:spPr>
                  <a:xfrm>
                    <a:off x="853447" y="4453776"/>
                    <a:ext cx="2695337" cy="0"/>
                  </a:xfrm>
                  <a:prstGeom prst="line">
                    <a:avLst/>
                  </a:prstGeom>
                  <a:ln w="12700" cap="flat">
                    <a:solidFill>
                      <a:srgbClr val="09489F">
                        <a:alpha val="60000"/>
                      </a:srgbClr>
                    </a:solidFill>
                    <a:prstDash val="solid"/>
                    <a:headEnd type="none" w="sm" len="sm"/>
                    <a:tailEnd type="none" w="sm" len="sm"/>
                  </a:ln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  <p:sp>
                <p:nvSpPr>
                  <p:cNvPr id="114" name="AutoShape 76">
                    <a:extLst>
                      <a:ext uri="{FF2B5EF4-FFF2-40B4-BE49-F238E27FC236}">
                        <a16:creationId xmlns:a16="http://schemas.microsoft.com/office/drawing/2014/main" id="{38A95516-226A-09E5-4330-C190A0FFB582}"/>
                      </a:ext>
                    </a:extLst>
                  </p:cNvPr>
                  <p:cNvSpPr/>
                  <p:nvPr/>
                </p:nvSpPr>
                <p:spPr>
                  <a:xfrm>
                    <a:off x="853447" y="4788598"/>
                    <a:ext cx="2695337" cy="0"/>
                  </a:xfrm>
                  <a:prstGeom prst="line">
                    <a:avLst/>
                  </a:prstGeom>
                  <a:ln w="12700" cap="flat">
                    <a:solidFill>
                      <a:srgbClr val="09489F">
                        <a:alpha val="60000"/>
                      </a:srgbClr>
                    </a:solidFill>
                    <a:prstDash val="solid"/>
                    <a:headEnd type="none" w="sm" len="sm"/>
                    <a:tailEnd type="none" w="sm" len="sm"/>
                  </a:ln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  <p:sp>
                <p:nvSpPr>
                  <p:cNvPr id="115" name="AutoShape 77">
                    <a:extLst>
                      <a:ext uri="{FF2B5EF4-FFF2-40B4-BE49-F238E27FC236}">
                        <a16:creationId xmlns:a16="http://schemas.microsoft.com/office/drawing/2014/main" id="{15317F37-46E2-5E33-AB71-B658D3269579}"/>
                      </a:ext>
                    </a:extLst>
                  </p:cNvPr>
                  <p:cNvSpPr/>
                  <p:nvPr/>
                </p:nvSpPr>
                <p:spPr>
                  <a:xfrm>
                    <a:off x="853447" y="5123421"/>
                    <a:ext cx="2695337" cy="0"/>
                  </a:xfrm>
                  <a:prstGeom prst="line">
                    <a:avLst/>
                  </a:prstGeom>
                  <a:ln w="12700" cap="flat">
                    <a:solidFill>
                      <a:srgbClr val="09489F">
                        <a:alpha val="60000"/>
                      </a:srgbClr>
                    </a:solidFill>
                    <a:prstDash val="solid"/>
                    <a:headEnd type="none" w="sm" len="sm"/>
                    <a:tailEnd type="none" w="sm" len="sm"/>
                  </a:ln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  <p:sp>
                <p:nvSpPr>
                  <p:cNvPr id="117" name="TextBox 85">
                    <a:extLst>
                      <a:ext uri="{FF2B5EF4-FFF2-40B4-BE49-F238E27FC236}">
                        <a16:creationId xmlns:a16="http://schemas.microsoft.com/office/drawing/2014/main" id="{2EFBB43D-4A92-1488-F12E-9111186D2C6A}"/>
                      </a:ext>
                    </a:extLst>
                  </p:cNvPr>
                  <p:cNvSpPr txBox="1"/>
                  <p:nvPr/>
                </p:nvSpPr>
                <p:spPr>
                  <a:xfrm>
                    <a:off x="1285704" y="3395434"/>
                    <a:ext cx="1830823" cy="118109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marL="0" lvl="0" indent="0" algn="ctr">
                      <a:lnSpc>
                        <a:spcPts val="972"/>
                      </a:lnSpc>
                      <a:spcBef>
                        <a:spcPct val="0"/>
                      </a:spcBef>
                    </a:pPr>
                    <a:r>
                      <a:rPr lang="en-US" sz="700" b="1" u="none" strike="noStrike" spc="34" dirty="0">
                        <a:solidFill>
                          <a:srgbClr val="FF522C"/>
                        </a:solidFill>
                        <a:latin typeface="Roboto Slab" pitchFamily="2" charset="0"/>
                        <a:ea typeface="Roboto Slab" pitchFamily="2" charset="0"/>
                      </a:rPr>
                      <a:t>BEVERAGES</a:t>
                    </a:r>
                  </a:p>
                </p:txBody>
              </p:sp>
            </p:grpSp>
          </p:grpSp>
          <p:grpSp>
            <p:nvGrpSpPr>
              <p:cNvPr id="157" name="Group 156">
                <a:extLst>
                  <a:ext uri="{FF2B5EF4-FFF2-40B4-BE49-F238E27FC236}">
                    <a16:creationId xmlns:a16="http://schemas.microsoft.com/office/drawing/2014/main" id="{6B77740E-8D2E-77FD-A04E-0FC95F3AB956}"/>
                  </a:ext>
                </a:extLst>
              </p:cNvPr>
              <p:cNvGrpSpPr/>
              <p:nvPr/>
            </p:nvGrpSpPr>
            <p:grpSpPr>
              <a:xfrm>
                <a:off x="868990" y="8428074"/>
                <a:ext cx="5818520" cy="1393164"/>
                <a:chOff x="868990" y="8070001"/>
                <a:chExt cx="5818520" cy="1393164"/>
              </a:xfrm>
            </p:grpSpPr>
            <p:grpSp>
              <p:nvGrpSpPr>
                <p:cNvPr id="143" name="Group 142">
                  <a:extLst>
                    <a:ext uri="{FF2B5EF4-FFF2-40B4-BE49-F238E27FC236}">
                      <a16:creationId xmlns:a16="http://schemas.microsoft.com/office/drawing/2014/main" id="{631C7CDE-4A97-42A1-7AAE-42221D9E780F}"/>
                    </a:ext>
                  </a:extLst>
                </p:cNvPr>
                <p:cNvGrpSpPr/>
                <p:nvPr/>
              </p:nvGrpSpPr>
              <p:grpSpPr>
                <a:xfrm>
                  <a:off x="868990" y="8070001"/>
                  <a:ext cx="2695337" cy="1393164"/>
                  <a:chOff x="853447" y="3395434"/>
                  <a:chExt cx="2695337" cy="1393164"/>
                </a:xfrm>
              </p:grpSpPr>
              <p:sp>
                <p:nvSpPr>
                  <p:cNvPr id="151" name="AutoShape 73">
                    <a:extLst>
                      <a:ext uri="{FF2B5EF4-FFF2-40B4-BE49-F238E27FC236}">
                        <a16:creationId xmlns:a16="http://schemas.microsoft.com/office/drawing/2014/main" id="{0C1382BC-3B6D-DEE3-07EE-F5FD3C155939}"/>
                      </a:ext>
                    </a:extLst>
                  </p:cNvPr>
                  <p:cNvSpPr/>
                  <p:nvPr/>
                </p:nvSpPr>
                <p:spPr>
                  <a:xfrm flipV="1">
                    <a:off x="853489" y="3784130"/>
                    <a:ext cx="2695253" cy="0"/>
                  </a:xfrm>
                  <a:prstGeom prst="line">
                    <a:avLst/>
                  </a:prstGeom>
                  <a:ln w="12700" cap="flat">
                    <a:solidFill>
                      <a:srgbClr val="09489F">
                        <a:alpha val="60000"/>
                      </a:srgbClr>
                    </a:solidFill>
                    <a:prstDash val="solid"/>
                    <a:headEnd type="none" w="sm" len="sm"/>
                    <a:tailEnd type="none" w="sm" len="sm"/>
                  </a:ln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  <p:sp>
                <p:nvSpPr>
                  <p:cNvPr id="152" name="AutoShape 74">
                    <a:extLst>
                      <a:ext uri="{FF2B5EF4-FFF2-40B4-BE49-F238E27FC236}">
                        <a16:creationId xmlns:a16="http://schemas.microsoft.com/office/drawing/2014/main" id="{B9B68212-F93B-F51B-F356-7A9DF69C54D0}"/>
                      </a:ext>
                    </a:extLst>
                  </p:cNvPr>
                  <p:cNvSpPr/>
                  <p:nvPr/>
                </p:nvSpPr>
                <p:spPr>
                  <a:xfrm>
                    <a:off x="853447" y="4118952"/>
                    <a:ext cx="2695337" cy="0"/>
                  </a:xfrm>
                  <a:prstGeom prst="line">
                    <a:avLst/>
                  </a:prstGeom>
                  <a:ln w="12700" cap="flat">
                    <a:solidFill>
                      <a:srgbClr val="09489F">
                        <a:alpha val="60000"/>
                      </a:srgbClr>
                    </a:solidFill>
                    <a:prstDash val="solid"/>
                    <a:headEnd type="none" w="sm" len="sm"/>
                    <a:tailEnd type="none" w="sm" len="sm"/>
                  </a:ln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  <p:sp>
                <p:nvSpPr>
                  <p:cNvPr id="153" name="AutoShape 75">
                    <a:extLst>
                      <a:ext uri="{FF2B5EF4-FFF2-40B4-BE49-F238E27FC236}">
                        <a16:creationId xmlns:a16="http://schemas.microsoft.com/office/drawing/2014/main" id="{9976354D-B31C-71C0-8677-56A2AA166960}"/>
                      </a:ext>
                    </a:extLst>
                  </p:cNvPr>
                  <p:cNvSpPr/>
                  <p:nvPr/>
                </p:nvSpPr>
                <p:spPr>
                  <a:xfrm>
                    <a:off x="853447" y="4453776"/>
                    <a:ext cx="2695337" cy="0"/>
                  </a:xfrm>
                  <a:prstGeom prst="line">
                    <a:avLst/>
                  </a:prstGeom>
                  <a:ln w="12700" cap="flat">
                    <a:solidFill>
                      <a:srgbClr val="09489F">
                        <a:alpha val="60000"/>
                      </a:srgbClr>
                    </a:solidFill>
                    <a:prstDash val="solid"/>
                    <a:headEnd type="none" w="sm" len="sm"/>
                    <a:tailEnd type="none" w="sm" len="sm"/>
                  </a:ln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  <p:sp>
                <p:nvSpPr>
                  <p:cNvPr id="154" name="AutoShape 76">
                    <a:extLst>
                      <a:ext uri="{FF2B5EF4-FFF2-40B4-BE49-F238E27FC236}">
                        <a16:creationId xmlns:a16="http://schemas.microsoft.com/office/drawing/2014/main" id="{E59B885A-4A40-8F73-5867-87A72B6327AE}"/>
                      </a:ext>
                    </a:extLst>
                  </p:cNvPr>
                  <p:cNvSpPr/>
                  <p:nvPr/>
                </p:nvSpPr>
                <p:spPr>
                  <a:xfrm>
                    <a:off x="853447" y="4788598"/>
                    <a:ext cx="2695337" cy="0"/>
                  </a:xfrm>
                  <a:prstGeom prst="line">
                    <a:avLst/>
                  </a:prstGeom>
                  <a:ln w="12700" cap="flat">
                    <a:solidFill>
                      <a:srgbClr val="09489F">
                        <a:alpha val="60000"/>
                      </a:srgbClr>
                    </a:solidFill>
                    <a:prstDash val="solid"/>
                    <a:headEnd type="none" w="sm" len="sm"/>
                    <a:tailEnd type="none" w="sm" len="sm"/>
                  </a:ln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  <p:sp>
                <p:nvSpPr>
                  <p:cNvPr id="156" name="TextBox 85">
                    <a:extLst>
                      <a:ext uri="{FF2B5EF4-FFF2-40B4-BE49-F238E27FC236}">
                        <a16:creationId xmlns:a16="http://schemas.microsoft.com/office/drawing/2014/main" id="{82D75BAB-6888-A1A3-B206-C3FDFD7BF995}"/>
                      </a:ext>
                    </a:extLst>
                  </p:cNvPr>
                  <p:cNvSpPr txBox="1"/>
                  <p:nvPr/>
                </p:nvSpPr>
                <p:spPr>
                  <a:xfrm>
                    <a:off x="1285704" y="3395434"/>
                    <a:ext cx="1830823" cy="118109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marL="0" lvl="0" indent="0" algn="ctr">
                      <a:lnSpc>
                        <a:spcPts val="972"/>
                      </a:lnSpc>
                      <a:spcBef>
                        <a:spcPct val="0"/>
                      </a:spcBef>
                    </a:pPr>
                    <a:r>
                      <a:rPr lang="en-US" sz="700" b="1" u="none" strike="noStrike" spc="34" dirty="0">
                        <a:solidFill>
                          <a:srgbClr val="FF522C"/>
                        </a:solidFill>
                        <a:latin typeface="Roboto Slab" pitchFamily="2" charset="0"/>
                        <a:ea typeface="Roboto Slab" pitchFamily="2" charset="0"/>
                      </a:rPr>
                      <a:t>APPETIZERS</a:t>
                    </a:r>
                  </a:p>
                </p:txBody>
              </p:sp>
            </p:grpSp>
            <p:grpSp>
              <p:nvGrpSpPr>
                <p:cNvPr id="144" name="Group 143">
                  <a:extLst>
                    <a:ext uri="{FF2B5EF4-FFF2-40B4-BE49-F238E27FC236}">
                      <a16:creationId xmlns:a16="http://schemas.microsoft.com/office/drawing/2014/main" id="{B2EF4A44-8592-A860-CE8B-27089CEC0925}"/>
                    </a:ext>
                  </a:extLst>
                </p:cNvPr>
                <p:cNvGrpSpPr/>
                <p:nvPr/>
              </p:nvGrpSpPr>
              <p:grpSpPr>
                <a:xfrm>
                  <a:off x="3992173" y="8070001"/>
                  <a:ext cx="2695337" cy="1393164"/>
                  <a:chOff x="853447" y="3395434"/>
                  <a:chExt cx="2695337" cy="1393164"/>
                </a:xfrm>
              </p:grpSpPr>
              <p:sp>
                <p:nvSpPr>
                  <p:cNvPr id="145" name="AutoShape 73">
                    <a:extLst>
                      <a:ext uri="{FF2B5EF4-FFF2-40B4-BE49-F238E27FC236}">
                        <a16:creationId xmlns:a16="http://schemas.microsoft.com/office/drawing/2014/main" id="{90A72944-A0C7-254C-B7D2-4A30EB67B3D2}"/>
                      </a:ext>
                    </a:extLst>
                  </p:cNvPr>
                  <p:cNvSpPr/>
                  <p:nvPr/>
                </p:nvSpPr>
                <p:spPr>
                  <a:xfrm flipV="1">
                    <a:off x="853489" y="3784130"/>
                    <a:ext cx="2695253" cy="0"/>
                  </a:xfrm>
                  <a:prstGeom prst="line">
                    <a:avLst/>
                  </a:prstGeom>
                  <a:ln w="12700" cap="flat">
                    <a:solidFill>
                      <a:srgbClr val="09489F">
                        <a:alpha val="60000"/>
                      </a:srgbClr>
                    </a:solidFill>
                    <a:prstDash val="solid"/>
                    <a:headEnd type="none" w="sm" len="sm"/>
                    <a:tailEnd type="none" w="sm" len="sm"/>
                  </a:ln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  <p:sp>
                <p:nvSpPr>
                  <p:cNvPr id="146" name="AutoShape 74">
                    <a:extLst>
                      <a:ext uri="{FF2B5EF4-FFF2-40B4-BE49-F238E27FC236}">
                        <a16:creationId xmlns:a16="http://schemas.microsoft.com/office/drawing/2014/main" id="{438AD54E-7580-9041-1A94-90CEFA0A8911}"/>
                      </a:ext>
                    </a:extLst>
                  </p:cNvPr>
                  <p:cNvSpPr/>
                  <p:nvPr/>
                </p:nvSpPr>
                <p:spPr>
                  <a:xfrm>
                    <a:off x="853447" y="4118952"/>
                    <a:ext cx="2695337" cy="0"/>
                  </a:xfrm>
                  <a:prstGeom prst="line">
                    <a:avLst/>
                  </a:prstGeom>
                  <a:ln w="12700" cap="flat">
                    <a:solidFill>
                      <a:srgbClr val="09489F">
                        <a:alpha val="60000"/>
                      </a:srgbClr>
                    </a:solidFill>
                    <a:prstDash val="solid"/>
                    <a:headEnd type="none" w="sm" len="sm"/>
                    <a:tailEnd type="none" w="sm" len="sm"/>
                  </a:ln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  <p:sp>
                <p:nvSpPr>
                  <p:cNvPr id="147" name="AutoShape 75">
                    <a:extLst>
                      <a:ext uri="{FF2B5EF4-FFF2-40B4-BE49-F238E27FC236}">
                        <a16:creationId xmlns:a16="http://schemas.microsoft.com/office/drawing/2014/main" id="{0290CDB2-CD57-50EA-0890-42FDFD8EB6E4}"/>
                      </a:ext>
                    </a:extLst>
                  </p:cNvPr>
                  <p:cNvSpPr/>
                  <p:nvPr/>
                </p:nvSpPr>
                <p:spPr>
                  <a:xfrm>
                    <a:off x="853447" y="4453776"/>
                    <a:ext cx="2695337" cy="0"/>
                  </a:xfrm>
                  <a:prstGeom prst="line">
                    <a:avLst/>
                  </a:prstGeom>
                  <a:ln w="12700" cap="flat">
                    <a:solidFill>
                      <a:srgbClr val="09489F">
                        <a:alpha val="60000"/>
                      </a:srgbClr>
                    </a:solidFill>
                    <a:prstDash val="solid"/>
                    <a:headEnd type="none" w="sm" len="sm"/>
                    <a:tailEnd type="none" w="sm" len="sm"/>
                  </a:ln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  <p:sp>
                <p:nvSpPr>
                  <p:cNvPr id="148" name="AutoShape 76">
                    <a:extLst>
                      <a:ext uri="{FF2B5EF4-FFF2-40B4-BE49-F238E27FC236}">
                        <a16:creationId xmlns:a16="http://schemas.microsoft.com/office/drawing/2014/main" id="{FDD5671D-9B53-817E-FC1B-BF053C3BAC84}"/>
                      </a:ext>
                    </a:extLst>
                  </p:cNvPr>
                  <p:cNvSpPr/>
                  <p:nvPr/>
                </p:nvSpPr>
                <p:spPr>
                  <a:xfrm>
                    <a:off x="853447" y="4788598"/>
                    <a:ext cx="2695337" cy="0"/>
                  </a:xfrm>
                  <a:prstGeom prst="line">
                    <a:avLst/>
                  </a:prstGeom>
                  <a:ln w="12700" cap="flat">
                    <a:solidFill>
                      <a:srgbClr val="09489F">
                        <a:alpha val="60000"/>
                      </a:srgbClr>
                    </a:solidFill>
                    <a:prstDash val="solid"/>
                    <a:headEnd type="none" w="sm" len="sm"/>
                    <a:tailEnd type="none" w="sm" len="sm"/>
                  </a:ln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  <p:sp>
                <p:nvSpPr>
                  <p:cNvPr id="150" name="TextBox 85">
                    <a:extLst>
                      <a:ext uri="{FF2B5EF4-FFF2-40B4-BE49-F238E27FC236}">
                        <a16:creationId xmlns:a16="http://schemas.microsoft.com/office/drawing/2014/main" id="{084D4385-49BB-6193-E04C-620958B3640F}"/>
                      </a:ext>
                    </a:extLst>
                  </p:cNvPr>
                  <p:cNvSpPr txBox="1"/>
                  <p:nvPr/>
                </p:nvSpPr>
                <p:spPr>
                  <a:xfrm>
                    <a:off x="1285704" y="3395434"/>
                    <a:ext cx="1830823" cy="118109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marL="0" lvl="0" indent="0" algn="ctr">
                      <a:lnSpc>
                        <a:spcPts val="972"/>
                      </a:lnSpc>
                      <a:spcBef>
                        <a:spcPct val="0"/>
                      </a:spcBef>
                    </a:pPr>
                    <a:r>
                      <a:rPr lang="en-US" sz="700" b="1" u="none" strike="noStrike" spc="34" dirty="0">
                        <a:solidFill>
                          <a:srgbClr val="FF522C"/>
                        </a:solidFill>
                        <a:latin typeface="Roboto Slab" pitchFamily="2" charset="0"/>
                        <a:ea typeface="Roboto Slab" pitchFamily="2" charset="0"/>
                      </a:rPr>
                      <a:t>UTENSILS/PLATES</a:t>
                    </a:r>
                  </a:p>
                </p:txBody>
              </p:sp>
            </p:grpSp>
          </p:grpSp>
          <p:grpSp>
            <p:nvGrpSpPr>
              <p:cNvPr id="159" name="Group 158">
                <a:extLst>
                  <a:ext uri="{FF2B5EF4-FFF2-40B4-BE49-F238E27FC236}">
                    <a16:creationId xmlns:a16="http://schemas.microsoft.com/office/drawing/2014/main" id="{10EE5E96-2469-DCBF-A083-AD1F16F6EBC2}"/>
                  </a:ext>
                </a:extLst>
              </p:cNvPr>
              <p:cNvGrpSpPr/>
              <p:nvPr/>
            </p:nvGrpSpPr>
            <p:grpSpPr>
              <a:xfrm>
                <a:off x="868990" y="806869"/>
                <a:ext cx="5818521" cy="1972372"/>
                <a:chOff x="868990" y="806869"/>
                <a:chExt cx="5818521" cy="1972372"/>
              </a:xfrm>
            </p:grpSpPr>
            <p:sp>
              <p:nvSpPr>
                <p:cNvPr id="87" name="AutoShape 87"/>
                <p:cNvSpPr/>
                <p:nvPr/>
              </p:nvSpPr>
              <p:spPr>
                <a:xfrm>
                  <a:off x="868990" y="2779241"/>
                  <a:ext cx="5818520" cy="0"/>
                </a:xfrm>
                <a:prstGeom prst="line">
                  <a:avLst/>
                </a:prstGeom>
                <a:ln w="9525" cap="flat">
                  <a:solidFill>
                    <a:srgbClr val="ED1218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94" name="Freeform 94"/>
                <p:cNvSpPr/>
                <p:nvPr/>
              </p:nvSpPr>
              <p:spPr>
                <a:xfrm flipH="1">
                  <a:off x="5628524" y="940899"/>
                  <a:ext cx="1058986" cy="139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58986" h="1397011">
                      <a:moveTo>
                        <a:pt x="1058987" y="0"/>
                      </a:moveTo>
                      <a:lnTo>
                        <a:pt x="0" y="0"/>
                      </a:lnTo>
                      <a:lnTo>
                        <a:pt x="0" y="1397011"/>
                      </a:lnTo>
                      <a:lnTo>
                        <a:pt x="1058987" y="1397011"/>
                      </a:lnTo>
                      <a:lnTo>
                        <a:pt x="1058987" y="0"/>
                      </a:lnTo>
                      <a:close/>
                    </a:path>
                  </a:pathLst>
                </a:custGeom>
                <a:blipFill>
                  <a:blip r:embed="rId3">
                    <a:extLst>
                      <a:ext uri="{96DAC541-7B7A-43D3-8B79-37D633B846F1}">
                        <asvg:svgBlip xmlns:asvg="http://schemas.microsoft.com/office/drawing/2016/SVG/main" r:embed="rId4"/>
                      </a:ext>
                    </a:extLst>
                  </a:blip>
                  <a:stretch>
                    <a:fillRect/>
                  </a:stretch>
                </a:blipFill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95" name="Freeform 95"/>
                <p:cNvSpPr/>
                <p:nvPr/>
              </p:nvSpPr>
              <p:spPr>
                <a:xfrm>
                  <a:off x="868990" y="940899"/>
                  <a:ext cx="1058986" cy="13970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58986" h="1397011">
                      <a:moveTo>
                        <a:pt x="0" y="0"/>
                      </a:moveTo>
                      <a:lnTo>
                        <a:pt x="1058986" y="0"/>
                      </a:lnTo>
                      <a:lnTo>
                        <a:pt x="1058986" y="1397011"/>
                      </a:lnTo>
                      <a:lnTo>
                        <a:pt x="0" y="1397011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blipFill>
                  <a:blip r:embed="rId3">
                    <a:extLst>
                      <a:ext uri="{96DAC541-7B7A-43D3-8B79-37D633B846F1}">
                        <asvg:svgBlip xmlns:asvg="http://schemas.microsoft.com/office/drawing/2016/SVG/main" r:embed="rId4"/>
                      </a:ext>
                    </a:extLst>
                  </a:blip>
                  <a:stretch>
                    <a:fillRect/>
                  </a:stretch>
                </a:blipFill>
              </p:spPr>
              <p:txBody>
                <a:bodyPr/>
                <a:lstStyle/>
                <a:p>
                  <a:endParaRPr lang="en-US" dirty="0"/>
                </a:p>
              </p:txBody>
            </p:sp>
            <p:grpSp>
              <p:nvGrpSpPr>
                <p:cNvPr id="34" name="Group 33">
                  <a:extLst>
                    <a:ext uri="{FF2B5EF4-FFF2-40B4-BE49-F238E27FC236}">
                      <a16:creationId xmlns:a16="http://schemas.microsoft.com/office/drawing/2014/main" id="{30D7490F-4E9B-1648-8C72-C3B0A448B309}"/>
                    </a:ext>
                  </a:extLst>
                </p:cNvPr>
                <p:cNvGrpSpPr/>
                <p:nvPr/>
              </p:nvGrpSpPr>
              <p:grpSpPr>
                <a:xfrm>
                  <a:off x="1965011" y="1020070"/>
                  <a:ext cx="3626478" cy="985900"/>
                  <a:chOff x="1965887" y="1020070"/>
                  <a:chExt cx="3626478" cy="985900"/>
                </a:xfrm>
              </p:grpSpPr>
              <p:sp>
                <p:nvSpPr>
                  <p:cNvPr id="97" name="TextBox 97"/>
                  <p:cNvSpPr txBox="1"/>
                  <p:nvPr/>
                </p:nvSpPr>
                <p:spPr>
                  <a:xfrm>
                    <a:off x="1965887" y="1020070"/>
                    <a:ext cx="3626478" cy="462681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algn="ctr">
                      <a:lnSpc>
                        <a:spcPts val="3897"/>
                      </a:lnSpc>
                    </a:pPr>
                    <a:r>
                      <a:rPr lang="en-US" sz="2750" b="1" spc="-55" dirty="0">
                        <a:solidFill>
                          <a:srgbClr val="FF522C"/>
                        </a:solidFill>
                        <a:latin typeface="Roboto Slab" pitchFamily="2" charset="0"/>
                        <a:ea typeface="Roboto Slab" pitchFamily="2" charset="0"/>
                      </a:rPr>
                      <a:t>4TH OF JULY</a:t>
                    </a:r>
                  </a:p>
                </p:txBody>
              </p:sp>
              <p:sp>
                <p:nvSpPr>
                  <p:cNvPr id="98" name="TextBox 98"/>
                  <p:cNvSpPr txBox="1"/>
                  <p:nvPr/>
                </p:nvSpPr>
                <p:spPr>
                  <a:xfrm>
                    <a:off x="2439881" y="1319905"/>
                    <a:ext cx="2678489" cy="686065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algn="ctr">
                      <a:lnSpc>
                        <a:spcPts val="5760"/>
                      </a:lnSpc>
                    </a:pPr>
                    <a:r>
                      <a:rPr lang="en-US" sz="4100" b="1" spc="-82" dirty="0">
                        <a:solidFill>
                          <a:srgbClr val="09489F"/>
                        </a:solidFill>
                        <a:latin typeface="Roboto Slab" pitchFamily="2" charset="0"/>
                        <a:ea typeface="Roboto Slab" pitchFamily="2" charset="0"/>
                      </a:rPr>
                      <a:t>POTLUCK</a:t>
                    </a:r>
                  </a:p>
                </p:txBody>
              </p:sp>
            </p:grpSp>
            <p:grpSp>
              <p:nvGrpSpPr>
                <p:cNvPr id="28" name="Group 27">
                  <a:extLst>
                    <a:ext uri="{FF2B5EF4-FFF2-40B4-BE49-F238E27FC236}">
                      <a16:creationId xmlns:a16="http://schemas.microsoft.com/office/drawing/2014/main" id="{339B7D20-DBF2-95E7-4220-354B39F7C701}"/>
                    </a:ext>
                  </a:extLst>
                </p:cNvPr>
                <p:cNvGrpSpPr/>
                <p:nvPr/>
              </p:nvGrpSpPr>
              <p:grpSpPr>
                <a:xfrm>
                  <a:off x="2231781" y="812244"/>
                  <a:ext cx="741350" cy="156155"/>
                  <a:chOff x="2157051" y="812244"/>
                  <a:chExt cx="741350" cy="156155"/>
                </a:xfrm>
              </p:grpSpPr>
              <p:sp>
                <p:nvSpPr>
                  <p:cNvPr id="42" name="Freeform 42"/>
                  <p:cNvSpPr/>
                  <p:nvPr/>
                </p:nvSpPr>
                <p:spPr>
                  <a:xfrm>
                    <a:off x="2157051" y="812244"/>
                    <a:ext cx="169066" cy="15615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69066" h="156155">
                        <a:moveTo>
                          <a:pt x="0" y="0"/>
                        </a:moveTo>
                        <a:lnTo>
                          <a:pt x="169066" y="0"/>
                        </a:lnTo>
                        <a:lnTo>
                          <a:pt x="169066" y="156156"/>
                        </a:lnTo>
                        <a:lnTo>
                          <a:pt x="0" y="156156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blipFill>
                    <a:blip r:embed="rId5">
                      <a:extLst>
                        <a:ext uri="{96DAC541-7B7A-43D3-8B79-37D633B846F1}">
                          <asvg:svgBlip xmlns:asvg="http://schemas.microsoft.com/office/drawing/2016/SVG/main" r:embed="rId6"/>
                        </a:ext>
                      </a:extLst>
                    </a:blip>
                    <a:stretch>
                      <a:fillRect/>
                    </a:stretch>
                  </a:blipFill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  <p:sp>
                <p:nvSpPr>
                  <p:cNvPr id="43" name="Freeform 43"/>
                  <p:cNvSpPr/>
                  <p:nvPr/>
                </p:nvSpPr>
                <p:spPr>
                  <a:xfrm>
                    <a:off x="2443193" y="812244"/>
                    <a:ext cx="169066" cy="15615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69066" h="156155">
                        <a:moveTo>
                          <a:pt x="0" y="0"/>
                        </a:moveTo>
                        <a:lnTo>
                          <a:pt x="169066" y="0"/>
                        </a:lnTo>
                        <a:lnTo>
                          <a:pt x="169066" y="156156"/>
                        </a:lnTo>
                        <a:lnTo>
                          <a:pt x="0" y="156156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blipFill>
                    <a:blip r:embed="rId5">
                      <a:extLst>
                        <a:ext uri="{96DAC541-7B7A-43D3-8B79-37D633B846F1}">
                          <asvg:svgBlip xmlns:asvg="http://schemas.microsoft.com/office/drawing/2016/SVG/main" r:embed="rId6"/>
                        </a:ext>
                      </a:extLst>
                    </a:blip>
                    <a:stretch>
                      <a:fillRect/>
                    </a:stretch>
                  </a:blipFill>
                  <a:ln cap="sq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  <p:sp>
                <p:nvSpPr>
                  <p:cNvPr id="44" name="Freeform 44"/>
                  <p:cNvSpPr/>
                  <p:nvPr/>
                </p:nvSpPr>
                <p:spPr>
                  <a:xfrm>
                    <a:off x="2729335" y="812244"/>
                    <a:ext cx="169066" cy="15615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69066" h="156155">
                        <a:moveTo>
                          <a:pt x="0" y="0"/>
                        </a:moveTo>
                        <a:lnTo>
                          <a:pt x="169066" y="0"/>
                        </a:lnTo>
                        <a:lnTo>
                          <a:pt x="169066" y="156156"/>
                        </a:lnTo>
                        <a:lnTo>
                          <a:pt x="0" y="156156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blipFill>
                    <a:blip r:embed="rId5">
                      <a:extLst>
                        <a:ext uri="{96DAC541-7B7A-43D3-8B79-37D633B846F1}">
                          <asvg:svgBlip xmlns:asvg="http://schemas.microsoft.com/office/drawing/2016/SVG/main" r:embed="rId6"/>
                        </a:ext>
                      </a:extLst>
                    </a:blip>
                    <a:stretch>
                      <a:fillRect/>
                    </a:stretch>
                  </a:blipFill>
                  <a:ln cap="sq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</p:grpSp>
            <p:grpSp>
              <p:nvGrpSpPr>
                <p:cNvPr id="30" name="Group 29">
                  <a:extLst>
                    <a:ext uri="{FF2B5EF4-FFF2-40B4-BE49-F238E27FC236}">
                      <a16:creationId xmlns:a16="http://schemas.microsoft.com/office/drawing/2014/main" id="{75AE87A5-D261-7ADF-C6FA-95F97A069DAF}"/>
                    </a:ext>
                  </a:extLst>
                </p:cNvPr>
                <p:cNvGrpSpPr/>
                <p:nvPr/>
              </p:nvGrpSpPr>
              <p:grpSpPr>
                <a:xfrm>
                  <a:off x="4583370" y="812244"/>
                  <a:ext cx="741349" cy="156155"/>
                  <a:chOff x="4508640" y="812244"/>
                  <a:chExt cx="741349" cy="156155"/>
                </a:xfrm>
              </p:grpSpPr>
              <p:sp>
                <p:nvSpPr>
                  <p:cNvPr id="45" name="Freeform 45"/>
                  <p:cNvSpPr/>
                  <p:nvPr/>
                </p:nvSpPr>
                <p:spPr>
                  <a:xfrm>
                    <a:off x="4508640" y="812244"/>
                    <a:ext cx="169066" cy="15615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69066" h="156155">
                        <a:moveTo>
                          <a:pt x="0" y="0"/>
                        </a:moveTo>
                        <a:lnTo>
                          <a:pt x="169066" y="0"/>
                        </a:lnTo>
                        <a:lnTo>
                          <a:pt x="169066" y="156156"/>
                        </a:lnTo>
                        <a:lnTo>
                          <a:pt x="0" y="156156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blipFill>
                    <a:blip r:embed="rId5">
                      <a:extLst>
                        <a:ext uri="{96DAC541-7B7A-43D3-8B79-37D633B846F1}">
                          <asvg:svgBlip xmlns:asvg="http://schemas.microsoft.com/office/drawing/2016/SVG/main" r:embed="rId6"/>
                        </a:ext>
                      </a:extLst>
                    </a:blip>
                    <a:stretch>
                      <a:fillRect/>
                    </a:stretch>
                  </a:blipFill>
                  <a:ln cap="sq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  <p:sp>
                <p:nvSpPr>
                  <p:cNvPr id="46" name="Freeform 46"/>
                  <p:cNvSpPr/>
                  <p:nvPr/>
                </p:nvSpPr>
                <p:spPr>
                  <a:xfrm>
                    <a:off x="4794782" y="812244"/>
                    <a:ext cx="169066" cy="15615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69066" h="156155">
                        <a:moveTo>
                          <a:pt x="0" y="0"/>
                        </a:moveTo>
                        <a:lnTo>
                          <a:pt x="169066" y="0"/>
                        </a:lnTo>
                        <a:lnTo>
                          <a:pt x="169066" y="156156"/>
                        </a:lnTo>
                        <a:lnTo>
                          <a:pt x="0" y="156156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blipFill>
                    <a:blip r:embed="rId5">
                      <a:extLst>
                        <a:ext uri="{96DAC541-7B7A-43D3-8B79-37D633B846F1}">
                          <asvg:svgBlip xmlns:asvg="http://schemas.microsoft.com/office/drawing/2016/SVG/main" r:embed="rId6"/>
                        </a:ext>
                      </a:extLst>
                    </a:blip>
                    <a:stretch>
                      <a:fillRect/>
                    </a:stretch>
                  </a:blipFill>
                  <a:ln cap="sq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  <p:sp>
                <p:nvSpPr>
                  <p:cNvPr id="47" name="Freeform 47"/>
                  <p:cNvSpPr/>
                  <p:nvPr/>
                </p:nvSpPr>
                <p:spPr>
                  <a:xfrm>
                    <a:off x="5080923" y="812244"/>
                    <a:ext cx="169066" cy="15615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69066" h="156155">
                        <a:moveTo>
                          <a:pt x="0" y="0"/>
                        </a:moveTo>
                        <a:lnTo>
                          <a:pt x="169066" y="0"/>
                        </a:lnTo>
                        <a:lnTo>
                          <a:pt x="169066" y="156156"/>
                        </a:lnTo>
                        <a:lnTo>
                          <a:pt x="0" y="156156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blipFill>
                    <a:blip r:embed="rId5">
                      <a:extLst>
                        <a:ext uri="{96DAC541-7B7A-43D3-8B79-37D633B846F1}">
                          <asvg:svgBlip xmlns:asvg="http://schemas.microsoft.com/office/drawing/2016/SVG/main" r:embed="rId6"/>
                        </a:ext>
                      </a:extLst>
                    </a:blip>
                    <a:stretch>
                      <a:fillRect/>
                    </a:stretch>
                  </a:blipFill>
                  <a:ln cap="sq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</p:grpSp>
            <p:sp>
              <p:nvSpPr>
                <p:cNvPr id="99" name="TextBox 99"/>
                <p:cNvSpPr txBox="1"/>
                <p:nvPr/>
              </p:nvSpPr>
              <p:spPr>
                <a:xfrm>
                  <a:off x="3084320" y="806869"/>
                  <a:ext cx="1387860" cy="166905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algn="ctr">
                    <a:lnSpc>
                      <a:spcPts val="1430"/>
                    </a:lnSpc>
                    <a:spcBef>
                      <a:spcPct val="0"/>
                    </a:spcBef>
                  </a:pPr>
                  <a:r>
                    <a:rPr lang="en-US" sz="1000" b="1" dirty="0">
                      <a:solidFill>
                        <a:srgbClr val="09489F"/>
                      </a:solidFill>
                      <a:latin typeface="Roboto Slab" pitchFamily="2" charset="0"/>
                      <a:ea typeface="Roboto Slab" pitchFamily="2" charset="0"/>
                    </a:rPr>
                    <a:t>SIGN UP SHEET</a:t>
                  </a:r>
                </a:p>
              </p:txBody>
            </p:sp>
            <p:grpSp>
              <p:nvGrpSpPr>
                <p:cNvPr id="38" name="Group 37">
                  <a:extLst>
                    <a:ext uri="{FF2B5EF4-FFF2-40B4-BE49-F238E27FC236}">
                      <a16:creationId xmlns:a16="http://schemas.microsoft.com/office/drawing/2014/main" id="{BB06D3C8-6A42-1383-2080-E2AA3C288F6C}"/>
                    </a:ext>
                  </a:extLst>
                </p:cNvPr>
                <p:cNvGrpSpPr/>
                <p:nvPr/>
              </p:nvGrpSpPr>
              <p:grpSpPr>
                <a:xfrm>
                  <a:off x="868990" y="2472999"/>
                  <a:ext cx="5818521" cy="166328"/>
                  <a:chOff x="864378" y="2454591"/>
                  <a:chExt cx="5818521" cy="166328"/>
                </a:xfrm>
              </p:grpSpPr>
              <p:sp>
                <p:nvSpPr>
                  <p:cNvPr id="89" name="Freeform 89"/>
                  <p:cNvSpPr/>
                  <p:nvPr/>
                </p:nvSpPr>
                <p:spPr>
                  <a:xfrm>
                    <a:off x="2473100" y="2534501"/>
                    <a:ext cx="43323" cy="4332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812800" h="812800">
                        <a:moveTo>
                          <a:pt x="406400" y="0"/>
                        </a:moveTo>
                        <a:cubicBezTo>
                          <a:pt x="181951" y="0"/>
                          <a:pt x="0" y="181951"/>
                          <a:pt x="0" y="406400"/>
                        </a:cubicBezTo>
                        <a:cubicBezTo>
                          <a:pt x="0" y="630849"/>
                          <a:pt x="181951" y="812800"/>
                          <a:pt x="406400" y="812800"/>
                        </a:cubicBezTo>
                        <a:cubicBezTo>
                          <a:pt x="630849" y="812800"/>
                          <a:pt x="812800" y="630849"/>
                          <a:pt x="812800" y="406400"/>
                        </a:cubicBezTo>
                        <a:cubicBezTo>
                          <a:pt x="812800" y="181951"/>
                          <a:pt x="630849" y="0"/>
                          <a:pt x="406400" y="0"/>
                        </a:cubicBezTo>
                        <a:close/>
                      </a:path>
                    </a:pathLst>
                  </a:custGeom>
                  <a:solidFill>
                    <a:srgbClr val="ED1218"/>
                  </a:solidFill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  <p:sp>
                <p:nvSpPr>
                  <p:cNvPr id="92" name="Freeform 92"/>
                  <p:cNvSpPr/>
                  <p:nvPr/>
                </p:nvSpPr>
                <p:spPr>
                  <a:xfrm>
                    <a:off x="5030855" y="2534501"/>
                    <a:ext cx="43323" cy="4332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812800" h="812800">
                        <a:moveTo>
                          <a:pt x="406400" y="0"/>
                        </a:moveTo>
                        <a:cubicBezTo>
                          <a:pt x="181951" y="0"/>
                          <a:pt x="0" y="181951"/>
                          <a:pt x="0" y="406400"/>
                        </a:cubicBezTo>
                        <a:cubicBezTo>
                          <a:pt x="0" y="630849"/>
                          <a:pt x="181951" y="812800"/>
                          <a:pt x="406400" y="812800"/>
                        </a:cubicBezTo>
                        <a:cubicBezTo>
                          <a:pt x="630849" y="812800"/>
                          <a:pt x="812800" y="630849"/>
                          <a:pt x="812800" y="406400"/>
                        </a:cubicBezTo>
                        <a:cubicBezTo>
                          <a:pt x="812800" y="181951"/>
                          <a:pt x="630849" y="0"/>
                          <a:pt x="406400" y="0"/>
                        </a:cubicBezTo>
                        <a:close/>
                      </a:path>
                    </a:pathLst>
                  </a:custGeom>
                  <a:solidFill>
                    <a:srgbClr val="ED1218"/>
                  </a:solidFill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  <p:sp>
                <p:nvSpPr>
                  <p:cNvPr id="100" name="TextBox 100"/>
                  <p:cNvSpPr txBox="1"/>
                  <p:nvPr/>
                </p:nvSpPr>
                <p:spPr>
                  <a:xfrm>
                    <a:off x="2620288" y="2454591"/>
                    <a:ext cx="2306702" cy="166328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marL="0" lvl="1" indent="0" algn="ctr">
                      <a:lnSpc>
                        <a:spcPts val="1403"/>
                      </a:lnSpc>
                      <a:spcBef>
                        <a:spcPct val="0"/>
                      </a:spcBef>
                    </a:pPr>
                    <a:r>
                      <a:rPr lang="en-US" sz="1002" b="1" u="none" strike="noStrike" spc="50" dirty="0">
                        <a:solidFill>
                          <a:srgbClr val="FF522C"/>
                        </a:solidFill>
                        <a:latin typeface="Roboto Slab" pitchFamily="2" charset="0"/>
                        <a:ea typeface="Roboto Slab" pitchFamily="2" charset="0"/>
                      </a:rPr>
                      <a:t>THURSDAY JULY 4TH, 2024</a:t>
                    </a:r>
                  </a:p>
                </p:txBody>
              </p:sp>
              <p:sp>
                <p:nvSpPr>
                  <p:cNvPr id="101" name="TextBox 101"/>
                  <p:cNvSpPr txBox="1"/>
                  <p:nvPr/>
                </p:nvSpPr>
                <p:spPr>
                  <a:xfrm>
                    <a:off x="864378" y="2454591"/>
                    <a:ext cx="1504857" cy="166328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marL="0" lvl="1" indent="0" algn="ctr">
                      <a:lnSpc>
                        <a:spcPts val="1403"/>
                      </a:lnSpc>
                      <a:spcBef>
                        <a:spcPct val="0"/>
                      </a:spcBef>
                    </a:pPr>
                    <a:r>
                      <a:rPr lang="en-US" sz="1002" b="1" u="none" strike="noStrike" spc="50" dirty="0">
                        <a:solidFill>
                          <a:srgbClr val="FF522C"/>
                        </a:solidFill>
                        <a:latin typeface="Roboto Slab" pitchFamily="2" charset="0"/>
                        <a:ea typeface="Roboto Slab" pitchFamily="2" charset="0"/>
                      </a:rPr>
                      <a:t>4:00 PM - 8:00 PM</a:t>
                    </a:r>
                  </a:p>
                </p:txBody>
              </p:sp>
              <p:sp>
                <p:nvSpPr>
                  <p:cNvPr id="102" name="TextBox 102"/>
                  <p:cNvSpPr txBox="1"/>
                  <p:nvPr/>
                </p:nvSpPr>
                <p:spPr>
                  <a:xfrm>
                    <a:off x="5178042" y="2454591"/>
                    <a:ext cx="1504857" cy="166328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marL="0" lvl="1" indent="0" algn="ctr">
                      <a:lnSpc>
                        <a:spcPts val="1403"/>
                      </a:lnSpc>
                      <a:spcBef>
                        <a:spcPct val="0"/>
                      </a:spcBef>
                    </a:pPr>
                    <a:r>
                      <a:rPr lang="en-US" sz="1002" b="1" spc="50" dirty="0">
                        <a:solidFill>
                          <a:srgbClr val="FF522C"/>
                        </a:solidFill>
                        <a:latin typeface="Roboto Slab" pitchFamily="2" charset="0"/>
                        <a:ea typeface="Roboto Slab" pitchFamily="2" charset="0"/>
                      </a:rPr>
                      <a:t>CENTRAL PARK</a:t>
                    </a:r>
                  </a:p>
                </p:txBody>
              </p:sp>
            </p:grpSp>
            <p:sp>
              <p:nvSpPr>
                <p:cNvPr id="96" name="AutoShape 96"/>
                <p:cNvSpPr/>
                <p:nvPr/>
              </p:nvSpPr>
              <p:spPr>
                <a:xfrm>
                  <a:off x="868990" y="2333084"/>
                  <a:ext cx="5818520" cy="0"/>
                </a:xfrm>
                <a:prstGeom prst="line">
                  <a:avLst/>
                </a:prstGeom>
                <a:ln w="9525" cap="flat">
                  <a:solidFill>
                    <a:srgbClr val="ED1218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</p:grpSp>
        </p:grpSp>
        <p:sp>
          <p:nvSpPr>
            <p:cNvPr id="103" name="TemplateLAB"/>
            <p:cNvSpPr/>
            <p:nvPr/>
          </p:nvSpPr>
          <p:spPr>
            <a:xfrm rot="16200000">
              <a:off x="6645602" y="9494790"/>
              <a:ext cx="486052" cy="80199"/>
            </a:xfrm>
            <a:custGeom>
              <a:avLst/>
              <a:gdLst/>
              <a:ahLst/>
              <a:cxnLst/>
              <a:rect l="l" t="t" r="r" b="b"/>
              <a:pathLst>
                <a:path w="486052" h="80199">
                  <a:moveTo>
                    <a:pt x="0" y="0"/>
                  </a:moveTo>
                  <a:lnTo>
                    <a:pt x="486052" y="0"/>
                  </a:lnTo>
                  <a:lnTo>
                    <a:pt x="486052" y="80199"/>
                  </a:lnTo>
                  <a:lnTo>
                    <a:pt x="0" y="80199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US" dirty="0"/>
            </a:p>
          </p:txBody>
        </p:sp>
      </p:grpSp>
    </p:spTree>
    <p:custDataLst>
      <p:tags r:id="rId1"/>
    </p:custData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0</TotalTime>
  <Words>29</Words>
  <Application>Microsoft Office PowerPoint</Application>
  <PresentationFormat>Custom</PresentationFormat>
  <Paragraphs>12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Roboto Slab</vt:lpstr>
      <vt:lpstr>Arial</vt:lpstr>
      <vt:lpstr>Calibri</vt:lpstr>
      <vt:lpstr>Office Them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ICK of Potluck sign up sheet 2</dc:title>
  <dc:creator>Hoang Anh</dc:creator>
  <cp:lastModifiedBy>Hoang Anh</cp:lastModifiedBy>
  <cp:revision>19</cp:revision>
  <dcterms:created xsi:type="dcterms:W3CDTF">2006-08-16T00:00:00Z</dcterms:created>
  <dcterms:modified xsi:type="dcterms:W3CDTF">2024-03-28T17:01:32Z</dcterms:modified>
  <dc:identifier>DAGAx8seEGM</dc:identifier>
</cp:coreProperties>
</file>